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6"/>
  </p:notesMasterIdLst>
  <p:sldIdLst>
    <p:sldId id="2145704295"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F25A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392"/>
    <p:restoredTop sz="96190"/>
  </p:normalViewPr>
  <p:slideViewPr>
    <p:cSldViewPr snapToGrid="0" snapToObjects="1">
      <p:cViewPr>
        <p:scale>
          <a:sx n="100" d="100"/>
          <a:sy n="100" d="100"/>
        </p:scale>
        <p:origin x="804" y="4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76EA5E-0796-6E4B-B864-565212CCAB74}" type="datetimeFigureOut">
              <a:rPr lang="en-GB" smtClean="0"/>
              <a:t>27/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ADF795-62BA-4E4B-A166-93A3F4495BA2}" type="slidenum">
              <a:rPr lang="en-GB" smtClean="0"/>
              <a:t>‹#›</a:t>
            </a:fld>
            <a:endParaRPr lang="en-GB"/>
          </a:p>
        </p:txBody>
      </p:sp>
    </p:spTree>
    <p:extLst>
      <p:ext uri="{BB962C8B-B14F-4D97-AF65-F5344CB8AC3E}">
        <p14:creationId xmlns:p14="http://schemas.microsoft.com/office/powerpoint/2010/main" val="277142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0ADF795-62BA-4E4B-A166-93A3F4495BA2}" type="slidenum">
              <a:rPr lang="en-GB" smtClean="0"/>
              <a:t>1</a:t>
            </a:fld>
            <a:endParaRPr lang="en-GB"/>
          </a:p>
        </p:txBody>
      </p:sp>
    </p:spTree>
    <p:extLst>
      <p:ext uri="{BB962C8B-B14F-4D97-AF65-F5344CB8AC3E}">
        <p14:creationId xmlns:p14="http://schemas.microsoft.com/office/powerpoint/2010/main" val="19288743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gital-DarkMode-Title Slide">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1EE1B3B3-7865-EF44-BC5D-6942CC10A05E}"/>
              </a:ext>
            </a:extLst>
          </p:cNvPr>
          <p:cNvSpPr/>
          <p:nvPr userDrawn="1"/>
        </p:nvSpPr>
        <p:spPr>
          <a:xfrm>
            <a:off x="2" y="0"/>
            <a:ext cx="12191999"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E59A88E2-B380-0F46-8532-562C6A2D61C8}"/>
              </a:ext>
            </a:extLst>
          </p:cNvPr>
          <p:cNvSpPr/>
          <p:nvPr userDrawn="1"/>
        </p:nvSpPr>
        <p:spPr>
          <a:xfrm>
            <a:off x="2" y="0"/>
            <a:ext cx="12191999" cy="6858000"/>
          </a:xfrm>
          <a:prstGeom prst="rect">
            <a:avLst/>
          </a:prstGeom>
          <a:gradFill>
            <a:gsLst>
              <a:gs pos="100000">
                <a:schemeClr val="tx1">
                  <a:alpha val="46000"/>
                </a:schemeClr>
              </a:gs>
              <a:gs pos="65000">
                <a:schemeClr val="tx1">
                  <a:alpha val="61000"/>
                </a:schemeClr>
              </a:gs>
              <a:gs pos="36000">
                <a:schemeClr val="tx1">
                  <a:alpha val="69000"/>
                </a:schemeClr>
              </a:gs>
              <a:gs pos="0">
                <a:schemeClr val="tx1">
                  <a:alpha val="7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36" name="object 3">
            <a:extLst>
              <a:ext uri="{FF2B5EF4-FFF2-40B4-BE49-F238E27FC236}">
                <a16:creationId xmlns:a16="http://schemas.microsoft.com/office/drawing/2014/main" id="{ADB2C1AD-6B15-DA4C-AE5B-99FC9EE9CFDB}"/>
              </a:ext>
            </a:extLst>
          </p:cNvPr>
          <p:cNvSpPr/>
          <p:nvPr userDrawn="1"/>
        </p:nvSpPr>
        <p:spPr>
          <a:xfrm>
            <a:off x="430" y="486"/>
            <a:ext cx="12191143" cy="6857519"/>
          </a:xfrm>
          <a:prstGeom prst="rect">
            <a:avLst/>
          </a:prstGeom>
          <a:blipFill>
            <a:blip r:embed="rId2" cstate="print">
              <a:alphaModFix amt="43000"/>
              <a:duotone>
                <a:prstClr val="black"/>
                <a:schemeClr val="accent2">
                  <a:tint val="45000"/>
                  <a:satMod val="400000"/>
                </a:schemeClr>
              </a:duotone>
            </a:blip>
            <a:stretch>
              <a:fillRect/>
            </a:stretch>
          </a:blipFill>
        </p:spPr>
        <p:txBody>
          <a:bodyPr wrap="square" lIns="0" tIns="0" rIns="0" bIns="0" rtlCol="0"/>
          <a:lstStyle/>
          <a:p>
            <a:endParaRPr sz="1092" dirty="0">
              <a:latin typeface="Arial" panose="020B0604020202020204" pitchFamily="34" charset="0"/>
              <a:cs typeface="Arial" panose="020B0604020202020204" pitchFamily="34" charset="0"/>
            </a:endParaRPr>
          </a:p>
        </p:txBody>
      </p:sp>
      <p:sp>
        <p:nvSpPr>
          <p:cNvPr id="5" name="Title Placeholder 6">
            <a:extLst>
              <a:ext uri="{FF2B5EF4-FFF2-40B4-BE49-F238E27FC236}">
                <a16:creationId xmlns:a16="http://schemas.microsoft.com/office/drawing/2014/main" id="{D60202E4-F664-A04D-A550-F266DB6EC24A}"/>
              </a:ext>
            </a:extLst>
          </p:cNvPr>
          <p:cNvSpPr>
            <a:spLocks noGrp="1"/>
          </p:cNvSpPr>
          <p:nvPr>
            <p:ph type="title" hasCustomPrompt="1"/>
          </p:nvPr>
        </p:nvSpPr>
        <p:spPr>
          <a:xfrm>
            <a:off x="540001" y="2691845"/>
            <a:ext cx="6409971" cy="1361737"/>
          </a:xfrm>
          <a:prstGeom prst="rect">
            <a:avLst/>
          </a:prstGeom>
        </p:spPr>
        <p:txBody>
          <a:bodyPr vert="horz" lIns="0" tIns="0" rIns="0" bIns="0" rtlCol="0" anchor="b">
            <a:noAutofit/>
          </a:bodyPr>
          <a:lstStyle>
            <a:lvl1pPr>
              <a:defRPr sz="4400" b="0" i="0" spc="-100" baseline="0">
                <a:solidFill>
                  <a:srgbClr val="F15A28"/>
                </a:solidFill>
                <a:latin typeface="Arial" panose="020B0604020202020204" pitchFamily="34" charset="0"/>
                <a:ea typeface="Aktiv Grotesk Light" panose="020B0404020202020204" pitchFamily="34" charset="0"/>
                <a:cs typeface="Arial" panose="020B0604020202020204" pitchFamily="34" charset="0"/>
              </a:defRPr>
            </a:lvl1pPr>
          </a:lstStyle>
          <a:p>
            <a:r>
              <a:rPr lang="en-GB" dirty="0"/>
              <a:t>Click to edit master title</a:t>
            </a:r>
          </a:p>
        </p:txBody>
      </p:sp>
      <p:sp>
        <p:nvSpPr>
          <p:cNvPr id="11" name="Text Placeholder 10">
            <a:extLst>
              <a:ext uri="{FF2B5EF4-FFF2-40B4-BE49-F238E27FC236}">
                <a16:creationId xmlns:a16="http://schemas.microsoft.com/office/drawing/2014/main" id="{84303612-5F17-C149-B90A-22156C546267}"/>
              </a:ext>
            </a:extLst>
          </p:cNvPr>
          <p:cNvSpPr>
            <a:spLocks noGrp="1"/>
          </p:cNvSpPr>
          <p:nvPr>
            <p:ph type="body" sz="quarter" idx="10" hasCustomPrompt="1"/>
          </p:nvPr>
        </p:nvSpPr>
        <p:spPr>
          <a:xfrm>
            <a:off x="540003" y="4166156"/>
            <a:ext cx="6409972" cy="798459"/>
          </a:xfrm>
          <a:prstGeom prst="rect">
            <a:avLst/>
          </a:prstGeom>
        </p:spPr>
        <p:txBody>
          <a:bodyPr lIns="0" tIns="0" rIns="0" bIns="0"/>
          <a:lstStyle>
            <a:lvl1pPr marL="10584" indent="-10584">
              <a:buNone/>
              <a:tabLst/>
              <a:defRPr sz="2400">
                <a:latin typeface="Arial" panose="020B0604020202020204" pitchFamily="34" charset="0"/>
                <a:cs typeface="Arial" panose="020B0604020202020204" pitchFamily="34" charset="0"/>
              </a:defRPr>
            </a:lvl1pPr>
          </a:lstStyle>
          <a:p>
            <a:pPr lvl="0"/>
            <a:r>
              <a:rPr lang="en-GB" dirty="0"/>
              <a:t>Click to edit Master subtitle</a:t>
            </a:r>
          </a:p>
        </p:txBody>
      </p:sp>
      <p:sp>
        <p:nvSpPr>
          <p:cNvPr id="12" name="Text Placeholder 10">
            <a:extLst>
              <a:ext uri="{FF2B5EF4-FFF2-40B4-BE49-F238E27FC236}">
                <a16:creationId xmlns:a16="http://schemas.microsoft.com/office/drawing/2014/main" id="{33B5433B-DDB3-AD45-B0F9-FBE32227A4F3}"/>
              </a:ext>
            </a:extLst>
          </p:cNvPr>
          <p:cNvSpPr>
            <a:spLocks noGrp="1"/>
          </p:cNvSpPr>
          <p:nvPr>
            <p:ph type="body" sz="quarter" idx="11" hasCustomPrompt="1"/>
          </p:nvPr>
        </p:nvSpPr>
        <p:spPr>
          <a:xfrm>
            <a:off x="540003" y="4964615"/>
            <a:ext cx="6409972" cy="274295"/>
          </a:xfrm>
          <a:prstGeom prst="rect">
            <a:avLst/>
          </a:prstGeom>
        </p:spPr>
        <p:txBody>
          <a:bodyPr lIns="0" tIns="0" rIns="0" bIns="0"/>
          <a:lstStyle>
            <a:lvl1pPr marL="10584" indent="-10584">
              <a:buNone/>
              <a:tabLst/>
              <a:defRPr sz="1100">
                <a:latin typeface="Arial" panose="020B0604020202020204" pitchFamily="34" charset="0"/>
                <a:cs typeface="Arial" panose="020B0604020202020204" pitchFamily="34" charset="0"/>
              </a:defRPr>
            </a:lvl1pPr>
          </a:lstStyle>
          <a:p>
            <a:pPr lvl="0"/>
            <a:r>
              <a:rPr lang="en-GB" dirty="0"/>
              <a:t>Click to edit date</a:t>
            </a:r>
          </a:p>
        </p:txBody>
      </p:sp>
      <p:grpSp>
        <p:nvGrpSpPr>
          <p:cNvPr id="6" name="Group 5">
            <a:extLst>
              <a:ext uri="{FF2B5EF4-FFF2-40B4-BE49-F238E27FC236}">
                <a16:creationId xmlns:a16="http://schemas.microsoft.com/office/drawing/2014/main" id="{0C472BC8-5893-8348-91F1-DBACB7FE9444}"/>
              </a:ext>
            </a:extLst>
          </p:cNvPr>
          <p:cNvGrpSpPr/>
          <p:nvPr userDrawn="1"/>
        </p:nvGrpSpPr>
        <p:grpSpPr>
          <a:xfrm>
            <a:off x="566465" y="6148072"/>
            <a:ext cx="1851052" cy="243997"/>
            <a:chOff x="643241" y="6148071"/>
            <a:chExt cx="1851052" cy="243997"/>
          </a:xfrm>
        </p:grpSpPr>
        <p:sp>
          <p:nvSpPr>
            <p:cNvPr id="45" name="Freeform 44">
              <a:extLst>
                <a:ext uri="{FF2B5EF4-FFF2-40B4-BE49-F238E27FC236}">
                  <a16:creationId xmlns:a16="http://schemas.microsoft.com/office/drawing/2014/main" id="{7089720E-8E7A-E645-BF97-69DA9BBE977D}"/>
                </a:ext>
              </a:extLst>
            </p:cNvPr>
            <p:cNvSpPr/>
            <p:nvPr/>
          </p:nvSpPr>
          <p:spPr>
            <a:xfrm>
              <a:off x="643241" y="6148071"/>
              <a:ext cx="662491" cy="243997"/>
            </a:xfrm>
            <a:custGeom>
              <a:avLst/>
              <a:gdLst>
                <a:gd name="connsiteX0" fmla="*/ 64262 w 632805"/>
                <a:gd name="connsiteY0" fmla="*/ 48220 h 233064"/>
                <a:gd name="connsiteX1" fmla="*/ 64262 w 632805"/>
                <a:gd name="connsiteY1" fmla="*/ 64294 h 233064"/>
                <a:gd name="connsiteX2" fmla="*/ 64262 w 632805"/>
                <a:gd name="connsiteY2" fmla="*/ 65187 h 233064"/>
                <a:gd name="connsiteX3" fmla="*/ 64262 w 632805"/>
                <a:gd name="connsiteY3" fmla="*/ 65187 h 233064"/>
                <a:gd name="connsiteX4" fmla="*/ 65155 w 632805"/>
                <a:gd name="connsiteY4" fmla="*/ 63401 h 233064"/>
                <a:gd name="connsiteX5" fmla="*/ 108889 w 632805"/>
                <a:gd name="connsiteY5" fmla="*/ 45541 h 233064"/>
                <a:gd name="connsiteX6" fmla="*/ 149053 w 632805"/>
                <a:gd name="connsiteY6" fmla="*/ 78581 h 233064"/>
                <a:gd name="connsiteX7" fmla="*/ 149053 w 632805"/>
                <a:gd name="connsiteY7" fmla="*/ 168771 h 233064"/>
                <a:gd name="connsiteX8" fmla="*/ 149053 w 632805"/>
                <a:gd name="connsiteY8" fmla="*/ 168771 h 233064"/>
                <a:gd name="connsiteX9" fmla="*/ 149053 w 632805"/>
                <a:gd name="connsiteY9" fmla="*/ 191095 h 233064"/>
                <a:gd name="connsiteX10" fmla="*/ 128525 w 632805"/>
                <a:gd name="connsiteY10" fmla="*/ 191095 h 233064"/>
                <a:gd name="connsiteX11" fmla="*/ 128525 w 632805"/>
                <a:gd name="connsiteY11" fmla="*/ 164306 h 233064"/>
                <a:gd name="connsiteX12" fmla="*/ 128525 w 632805"/>
                <a:gd name="connsiteY12" fmla="*/ 87511 h 233064"/>
                <a:gd name="connsiteX13" fmla="*/ 97286 w 632805"/>
                <a:gd name="connsiteY13" fmla="*/ 59829 h 233064"/>
                <a:gd name="connsiteX14" fmla="*/ 64262 w 632805"/>
                <a:gd name="connsiteY14" fmla="*/ 85725 h 233064"/>
                <a:gd name="connsiteX15" fmla="*/ 64262 w 632805"/>
                <a:gd name="connsiteY15" fmla="*/ 167878 h 233064"/>
                <a:gd name="connsiteX16" fmla="*/ 64262 w 632805"/>
                <a:gd name="connsiteY16" fmla="*/ 168771 h 233064"/>
                <a:gd name="connsiteX17" fmla="*/ 64262 w 632805"/>
                <a:gd name="connsiteY17" fmla="*/ 191095 h 233064"/>
                <a:gd name="connsiteX18" fmla="*/ 43734 w 632805"/>
                <a:gd name="connsiteY18" fmla="*/ 191095 h 233064"/>
                <a:gd name="connsiteX19" fmla="*/ 43734 w 632805"/>
                <a:gd name="connsiteY19" fmla="*/ 167878 h 233064"/>
                <a:gd name="connsiteX20" fmla="*/ 43734 w 632805"/>
                <a:gd name="connsiteY20" fmla="*/ 65187 h 233064"/>
                <a:gd name="connsiteX21" fmla="*/ 43734 w 632805"/>
                <a:gd name="connsiteY21" fmla="*/ 46434 h 233064"/>
                <a:gd name="connsiteX22" fmla="*/ 47304 w 632805"/>
                <a:gd name="connsiteY22" fmla="*/ 46434 h 233064"/>
                <a:gd name="connsiteX23" fmla="*/ 58015 w 632805"/>
                <a:gd name="connsiteY23" fmla="*/ 46434 h 233064"/>
                <a:gd name="connsiteX24" fmla="*/ 64262 w 632805"/>
                <a:gd name="connsiteY24" fmla="*/ 46434 h 233064"/>
                <a:gd name="connsiteX25" fmla="*/ 339163 w 632805"/>
                <a:gd name="connsiteY25" fmla="*/ 165199 h 233064"/>
                <a:gd name="connsiteX26" fmla="*/ 382004 w 632805"/>
                <a:gd name="connsiteY26" fmla="*/ 184845 h 233064"/>
                <a:gd name="connsiteX27" fmla="*/ 413243 w 632805"/>
                <a:gd name="connsiteY27" fmla="*/ 161627 h 233064"/>
                <a:gd name="connsiteX28" fmla="*/ 381112 w 632805"/>
                <a:gd name="connsiteY28" fmla="*/ 132159 h 233064"/>
                <a:gd name="connsiteX29" fmla="*/ 343625 w 632805"/>
                <a:gd name="connsiteY29" fmla="*/ 108049 h 233064"/>
                <a:gd name="connsiteX30" fmla="*/ 344518 w 632805"/>
                <a:gd name="connsiteY30" fmla="*/ 122337 h 233064"/>
                <a:gd name="connsiteX31" fmla="*/ 276685 w 632805"/>
                <a:gd name="connsiteY31" fmla="*/ 198239 h 233064"/>
                <a:gd name="connsiteX32" fmla="*/ 208853 w 632805"/>
                <a:gd name="connsiteY32" fmla="*/ 122337 h 233064"/>
                <a:gd name="connsiteX33" fmla="*/ 237414 w 632805"/>
                <a:gd name="connsiteY33" fmla="*/ 60722 h 233064"/>
                <a:gd name="connsiteX34" fmla="*/ 191002 w 632805"/>
                <a:gd name="connsiteY34" fmla="*/ 60722 h 233064"/>
                <a:gd name="connsiteX35" fmla="*/ 191002 w 632805"/>
                <a:gd name="connsiteY35" fmla="*/ 169664 h 233064"/>
                <a:gd name="connsiteX36" fmla="*/ 191002 w 632805"/>
                <a:gd name="connsiteY36" fmla="*/ 169664 h 233064"/>
                <a:gd name="connsiteX37" fmla="*/ 191002 w 632805"/>
                <a:gd name="connsiteY37" fmla="*/ 191988 h 233064"/>
                <a:gd name="connsiteX38" fmla="*/ 170474 w 632805"/>
                <a:gd name="connsiteY38" fmla="*/ 191988 h 233064"/>
                <a:gd name="connsiteX39" fmla="*/ 170474 w 632805"/>
                <a:gd name="connsiteY39" fmla="*/ 170557 h 233064"/>
                <a:gd name="connsiteX40" fmla="*/ 170474 w 632805"/>
                <a:gd name="connsiteY40" fmla="*/ 169664 h 233064"/>
                <a:gd name="connsiteX41" fmla="*/ 170474 w 632805"/>
                <a:gd name="connsiteY41" fmla="*/ 60722 h 233064"/>
                <a:gd name="connsiteX42" fmla="*/ 152623 w 632805"/>
                <a:gd name="connsiteY42" fmla="*/ 60722 h 233064"/>
                <a:gd name="connsiteX43" fmla="*/ 152623 w 632805"/>
                <a:gd name="connsiteY43" fmla="*/ 47327 h 233064"/>
                <a:gd name="connsiteX44" fmla="*/ 171366 w 632805"/>
                <a:gd name="connsiteY44" fmla="*/ 47327 h 233064"/>
                <a:gd name="connsiteX45" fmla="*/ 214208 w 632805"/>
                <a:gd name="connsiteY45" fmla="*/ 3572 h 233064"/>
                <a:gd name="connsiteX46" fmla="*/ 242769 w 632805"/>
                <a:gd name="connsiteY46" fmla="*/ 7144 h 233064"/>
                <a:gd name="connsiteX47" fmla="*/ 242769 w 632805"/>
                <a:gd name="connsiteY47" fmla="*/ 25896 h 233064"/>
                <a:gd name="connsiteX48" fmla="*/ 242769 w 632805"/>
                <a:gd name="connsiteY48" fmla="*/ 28575 h 233064"/>
                <a:gd name="connsiteX49" fmla="*/ 241876 w 632805"/>
                <a:gd name="connsiteY49" fmla="*/ 28575 h 233064"/>
                <a:gd name="connsiteX50" fmla="*/ 209745 w 632805"/>
                <a:gd name="connsiteY50" fmla="*/ 16966 h 233064"/>
                <a:gd name="connsiteX51" fmla="*/ 190110 w 632805"/>
                <a:gd name="connsiteY51" fmla="*/ 47327 h 233064"/>
                <a:gd name="connsiteX52" fmla="*/ 266867 w 632805"/>
                <a:gd name="connsiteY52" fmla="*/ 47327 h 233064"/>
                <a:gd name="connsiteX53" fmla="*/ 276685 w 632805"/>
                <a:gd name="connsiteY53" fmla="*/ 46434 h 233064"/>
                <a:gd name="connsiteX54" fmla="*/ 338270 w 632805"/>
                <a:gd name="connsiteY54" fmla="*/ 90190 h 233064"/>
                <a:gd name="connsiteX55" fmla="*/ 338270 w 632805"/>
                <a:gd name="connsiteY55" fmla="*/ 85725 h 233064"/>
                <a:gd name="connsiteX56" fmla="*/ 391822 w 632805"/>
                <a:gd name="connsiteY56" fmla="*/ 47327 h 233064"/>
                <a:gd name="connsiteX57" fmla="*/ 394500 w 632805"/>
                <a:gd name="connsiteY57" fmla="*/ 47327 h 233064"/>
                <a:gd name="connsiteX58" fmla="*/ 425738 w 632805"/>
                <a:gd name="connsiteY58" fmla="*/ 52685 h 233064"/>
                <a:gd name="connsiteX59" fmla="*/ 432878 w 632805"/>
                <a:gd name="connsiteY59" fmla="*/ 71438 h 233064"/>
                <a:gd name="connsiteX60" fmla="*/ 441804 w 632805"/>
                <a:gd name="connsiteY60" fmla="*/ 92869 h 233064"/>
                <a:gd name="connsiteX61" fmla="*/ 465010 w 632805"/>
                <a:gd name="connsiteY61" fmla="*/ 149126 h 233064"/>
                <a:gd name="connsiteX62" fmla="*/ 467687 w 632805"/>
                <a:gd name="connsiteY62" fmla="*/ 158055 h 233064"/>
                <a:gd name="connsiteX63" fmla="*/ 470365 w 632805"/>
                <a:gd name="connsiteY63" fmla="*/ 149126 h 233064"/>
                <a:gd name="connsiteX64" fmla="*/ 499818 w 632805"/>
                <a:gd name="connsiteY64" fmla="*/ 76795 h 233064"/>
                <a:gd name="connsiteX65" fmla="*/ 549800 w 632805"/>
                <a:gd name="connsiteY65" fmla="*/ 48220 h 233064"/>
                <a:gd name="connsiteX66" fmla="*/ 580146 w 632805"/>
                <a:gd name="connsiteY66" fmla="*/ 53578 h 233064"/>
                <a:gd name="connsiteX67" fmla="*/ 580146 w 632805"/>
                <a:gd name="connsiteY67" fmla="*/ 75009 h 233064"/>
                <a:gd name="connsiteX68" fmla="*/ 543553 w 632805"/>
                <a:gd name="connsiteY68" fmla="*/ 60722 h 233064"/>
                <a:gd name="connsiteX69" fmla="*/ 515884 w 632805"/>
                <a:gd name="connsiteY69" fmla="*/ 84832 h 233064"/>
                <a:gd name="connsiteX70" fmla="*/ 548908 w 632805"/>
                <a:gd name="connsiteY70" fmla="*/ 113407 h 233064"/>
                <a:gd name="connsiteX71" fmla="*/ 588179 w 632805"/>
                <a:gd name="connsiteY71" fmla="*/ 154484 h 233064"/>
                <a:gd name="connsiteX72" fmla="*/ 532842 w 632805"/>
                <a:gd name="connsiteY72" fmla="*/ 199132 h 233064"/>
                <a:gd name="connsiteX73" fmla="*/ 493571 w 632805"/>
                <a:gd name="connsiteY73" fmla="*/ 188416 h 233064"/>
                <a:gd name="connsiteX74" fmla="*/ 493571 w 632805"/>
                <a:gd name="connsiteY74" fmla="*/ 163413 h 233064"/>
                <a:gd name="connsiteX75" fmla="*/ 494463 w 632805"/>
                <a:gd name="connsiteY75" fmla="*/ 164306 h 233064"/>
                <a:gd name="connsiteX76" fmla="*/ 539090 w 632805"/>
                <a:gd name="connsiteY76" fmla="*/ 184845 h 233064"/>
                <a:gd name="connsiteX77" fmla="*/ 570329 w 632805"/>
                <a:gd name="connsiteY77" fmla="*/ 161627 h 233064"/>
                <a:gd name="connsiteX78" fmla="*/ 538197 w 632805"/>
                <a:gd name="connsiteY78" fmla="*/ 132159 h 233064"/>
                <a:gd name="connsiteX79" fmla="*/ 500711 w 632805"/>
                <a:gd name="connsiteY79" fmla="*/ 103584 h 233064"/>
                <a:gd name="connsiteX80" fmla="*/ 447159 w 632805"/>
                <a:gd name="connsiteY80" fmla="*/ 233065 h 233064"/>
                <a:gd name="connsiteX81" fmla="*/ 427523 w 632805"/>
                <a:gd name="connsiteY81" fmla="*/ 233065 h 233064"/>
                <a:gd name="connsiteX82" fmla="*/ 431986 w 632805"/>
                <a:gd name="connsiteY82" fmla="*/ 224135 h 233064"/>
                <a:gd name="connsiteX83" fmla="*/ 436449 w 632805"/>
                <a:gd name="connsiteY83" fmla="*/ 216099 h 233064"/>
                <a:gd name="connsiteX84" fmla="*/ 436449 w 632805"/>
                <a:gd name="connsiteY84" fmla="*/ 216099 h 233064"/>
                <a:gd name="connsiteX85" fmla="*/ 455192 w 632805"/>
                <a:gd name="connsiteY85" fmla="*/ 175915 h 233064"/>
                <a:gd name="connsiteX86" fmla="*/ 416813 w 632805"/>
                <a:gd name="connsiteY86" fmla="*/ 83046 h 233064"/>
                <a:gd name="connsiteX87" fmla="*/ 415028 w 632805"/>
                <a:gd name="connsiteY87" fmla="*/ 77688 h 233064"/>
                <a:gd name="connsiteX88" fmla="*/ 400747 w 632805"/>
                <a:gd name="connsiteY88" fmla="*/ 61615 h 233064"/>
                <a:gd name="connsiteX89" fmla="*/ 385574 w 632805"/>
                <a:gd name="connsiteY89" fmla="*/ 58936 h 233064"/>
                <a:gd name="connsiteX90" fmla="*/ 357013 w 632805"/>
                <a:gd name="connsiteY90" fmla="*/ 83046 h 233064"/>
                <a:gd name="connsiteX91" fmla="*/ 390929 w 632805"/>
                <a:gd name="connsiteY91" fmla="*/ 111621 h 233064"/>
                <a:gd name="connsiteX92" fmla="*/ 430201 w 632805"/>
                <a:gd name="connsiteY92" fmla="*/ 152698 h 233064"/>
                <a:gd name="connsiteX93" fmla="*/ 374864 w 632805"/>
                <a:gd name="connsiteY93" fmla="*/ 197346 h 233064"/>
                <a:gd name="connsiteX94" fmla="*/ 338270 w 632805"/>
                <a:gd name="connsiteY94" fmla="*/ 188416 h 233064"/>
                <a:gd name="connsiteX95" fmla="*/ 338270 w 632805"/>
                <a:gd name="connsiteY95" fmla="*/ 165199 h 233064"/>
                <a:gd name="connsiteX96" fmla="*/ 434664 w 632805"/>
                <a:gd name="connsiteY96" fmla="*/ 70544 h 233064"/>
                <a:gd name="connsiteX97" fmla="*/ 435556 w 632805"/>
                <a:gd name="connsiteY97" fmla="*/ 73223 h 233064"/>
                <a:gd name="connsiteX98" fmla="*/ 443589 w 632805"/>
                <a:gd name="connsiteY98" fmla="*/ 91976 h 233064"/>
                <a:gd name="connsiteX99" fmla="*/ 434664 w 632805"/>
                <a:gd name="connsiteY99" fmla="*/ 70544 h 233064"/>
                <a:gd name="connsiteX100" fmla="*/ 432878 w 632805"/>
                <a:gd name="connsiteY100" fmla="*/ 224135 h 233064"/>
                <a:gd name="connsiteX101" fmla="*/ 437341 w 632805"/>
                <a:gd name="connsiteY101" fmla="*/ 216099 h 233064"/>
                <a:gd name="connsiteX102" fmla="*/ 432878 w 632805"/>
                <a:gd name="connsiteY102" fmla="*/ 224135 h 233064"/>
                <a:gd name="connsiteX103" fmla="*/ 417705 w 632805"/>
                <a:gd name="connsiteY103" fmla="*/ 83046 h 233064"/>
                <a:gd name="connsiteX104" fmla="*/ 416813 w 632805"/>
                <a:gd name="connsiteY104" fmla="*/ 81260 h 233064"/>
                <a:gd name="connsiteX105" fmla="*/ 417705 w 632805"/>
                <a:gd name="connsiteY105" fmla="*/ 83046 h 233064"/>
                <a:gd name="connsiteX106" fmla="*/ 230274 w 632805"/>
                <a:gd name="connsiteY106" fmla="*/ 124123 h 233064"/>
                <a:gd name="connsiteX107" fmla="*/ 277578 w 632805"/>
                <a:gd name="connsiteY107" fmla="*/ 184845 h 233064"/>
                <a:gd name="connsiteX108" fmla="*/ 323097 w 632805"/>
                <a:gd name="connsiteY108" fmla="*/ 122337 h 233064"/>
                <a:gd name="connsiteX109" fmla="*/ 275793 w 632805"/>
                <a:gd name="connsiteY109" fmla="*/ 61615 h 233064"/>
                <a:gd name="connsiteX110" fmla="*/ 230274 w 632805"/>
                <a:gd name="connsiteY110" fmla="*/ 124123 h 233064"/>
                <a:gd name="connsiteX111" fmla="*/ 0 w 632805"/>
                <a:gd name="connsiteY111" fmla="*/ 26789 h 233064"/>
                <a:gd name="connsiteX112" fmla="*/ 0 w 632805"/>
                <a:gd name="connsiteY112" fmla="*/ 26789 h 233064"/>
                <a:gd name="connsiteX113" fmla="*/ 0 w 632805"/>
                <a:gd name="connsiteY113" fmla="*/ 4465 h 233064"/>
                <a:gd name="connsiteX114" fmla="*/ 22313 w 632805"/>
                <a:gd name="connsiteY114" fmla="*/ 4465 h 233064"/>
                <a:gd name="connsiteX115" fmla="*/ 22313 w 632805"/>
                <a:gd name="connsiteY115" fmla="*/ 26789 h 233064"/>
                <a:gd name="connsiteX116" fmla="*/ 22313 w 632805"/>
                <a:gd name="connsiteY116" fmla="*/ 26789 h 233064"/>
                <a:gd name="connsiteX117" fmla="*/ 22313 w 632805"/>
                <a:gd name="connsiteY117" fmla="*/ 169664 h 233064"/>
                <a:gd name="connsiteX118" fmla="*/ 22313 w 632805"/>
                <a:gd name="connsiteY118" fmla="*/ 170557 h 233064"/>
                <a:gd name="connsiteX119" fmla="*/ 22313 w 632805"/>
                <a:gd name="connsiteY119" fmla="*/ 192881 h 233064"/>
                <a:gd name="connsiteX120" fmla="*/ 0 w 632805"/>
                <a:gd name="connsiteY120" fmla="*/ 192881 h 233064"/>
                <a:gd name="connsiteX121" fmla="*/ 0 w 632805"/>
                <a:gd name="connsiteY121" fmla="*/ 170557 h 233064"/>
                <a:gd name="connsiteX122" fmla="*/ 0 w 632805"/>
                <a:gd name="connsiteY122" fmla="*/ 170557 h 233064"/>
                <a:gd name="connsiteX123" fmla="*/ 0 w 632805"/>
                <a:gd name="connsiteY123" fmla="*/ 26789 h 233064"/>
                <a:gd name="connsiteX124" fmla="*/ 610493 w 632805"/>
                <a:gd name="connsiteY124" fmla="*/ 11609 h 233064"/>
                <a:gd name="connsiteX125" fmla="*/ 614955 w 632805"/>
                <a:gd name="connsiteY125" fmla="*/ 11609 h 233064"/>
                <a:gd name="connsiteX126" fmla="*/ 618525 w 632805"/>
                <a:gd name="connsiteY126" fmla="*/ 14288 h 233064"/>
                <a:gd name="connsiteX127" fmla="*/ 615848 w 632805"/>
                <a:gd name="connsiteY127" fmla="*/ 16966 h 233064"/>
                <a:gd name="connsiteX128" fmla="*/ 611385 w 632805"/>
                <a:gd name="connsiteY128" fmla="*/ 16966 h 233064"/>
                <a:gd name="connsiteX129" fmla="*/ 611385 w 632805"/>
                <a:gd name="connsiteY129" fmla="*/ 11609 h 233064"/>
                <a:gd name="connsiteX130" fmla="*/ 606922 w 632805"/>
                <a:gd name="connsiteY130" fmla="*/ 28575 h 233064"/>
                <a:gd name="connsiteX131" fmla="*/ 610493 w 632805"/>
                <a:gd name="connsiteY131" fmla="*/ 28575 h 233064"/>
                <a:gd name="connsiteX132" fmla="*/ 610493 w 632805"/>
                <a:gd name="connsiteY132" fmla="*/ 20538 h 233064"/>
                <a:gd name="connsiteX133" fmla="*/ 614955 w 632805"/>
                <a:gd name="connsiteY133" fmla="*/ 20538 h 233064"/>
                <a:gd name="connsiteX134" fmla="*/ 618525 w 632805"/>
                <a:gd name="connsiteY134" fmla="*/ 28575 h 233064"/>
                <a:gd name="connsiteX135" fmla="*/ 622988 w 632805"/>
                <a:gd name="connsiteY135" fmla="*/ 28575 h 233064"/>
                <a:gd name="connsiteX136" fmla="*/ 619418 w 632805"/>
                <a:gd name="connsiteY136" fmla="*/ 19645 h 233064"/>
                <a:gd name="connsiteX137" fmla="*/ 622988 w 632805"/>
                <a:gd name="connsiteY137" fmla="*/ 14288 h 233064"/>
                <a:gd name="connsiteX138" fmla="*/ 614955 w 632805"/>
                <a:gd name="connsiteY138" fmla="*/ 8037 h 233064"/>
                <a:gd name="connsiteX139" fmla="*/ 607815 w 632805"/>
                <a:gd name="connsiteY139" fmla="*/ 8037 h 233064"/>
                <a:gd name="connsiteX140" fmla="*/ 607815 w 632805"/>
                <a:gd name="connsiteY140" fmla="*/ 28575 h 233064"/>
                <a:gd name="connsiteX141" fmla="*/ 597105 w 632805"/>
                <a:gd name="connsiteY141" fmla="*/ 18752 h 233064"/>
                <a:gd name="connsiteX142" fmla="*/ 613170 w 632805"/>
                <a:gd name="connsiteY142" fmla="*/ 2679 h 233064"/>
                <a:gd name="connsiteX143" fmla="*/ 629236 w 632805"/>
                <a:gd name="connsiteY143" fmla="*/ 18752 h 233064"/>
                <a:gd name="connsiteX144" fmla="*/ 613170 w 632805"/>
                <a:gd name="connsiteY144" fmla="*/ 34826 h 233064"/>
                <a:gd name="connsiteX145" fmla="*/ 597105 w 632805"/>
                <a:gd name="connsiteY145" fmla="*/ 18752 h 233064"/>
                <a:gd name="connsiteX146" fmla="*/ 614063 w 632805"/>
                <a:gd name="connsiteY146" fmla="*/ 37505 h 233064"/>
                <a:gd name="connsiteX147" fmla="*/ 632806 w 632805"/>
                <a:gd name="connsiteY147" fmla="*/ 18752 h 233064"/>
                <a:gd name="connsiteX148" fmla="*/ 614063 w 632805"/>
                <a:gd name="connsiteY148" fmla="*/ 0 h 233064"/>
                <a:gd name="connsiteX149" fmla="*/ 595319 w 632805"/>
                <a:gd name="connsiteY149" fmla="*/ 18752 h 233064"/>
                <a:gd name="connsiteX150" fmla="*/ 614063 w 632805"/>
                <a:gd name="connsiteY150" fmla="*/ 37505 h 23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632805" h="233064">
                  <a:moveTo>
                    <a:pt x="64262" y="48220"/>
                  </a:moveTo>
                  <a:lnTo>
                    <a:pt x="64262" y="64294"/>
                  </a:lnTo>
                  <a:lnTo>
                    <a:pt x="64262" y="65187"/>
                  </a:lnTo>
                  <a:lnTo>
                    <a:pt x="64262" y="65187"/>
                  </a:lnTo>
                  <a:cubicBezTo>
                    <a:pt x="64262" y="64294"/>
                    <a:pt x="65155" y="64294"/>
                    <a:pt x="65155" y="63401"/>
                  </a:cubicBezTo>
                  <a:cubicBezTo>
                    <a:pt x="73188" y="54471"/>
                    <a:pt x="83898" y="45541"/>
                    <a:pt x="108889" y="45541"/>
                  </a:cubicBezTo>
                  <a:cubicBezTo>
                    <a:pt x="132987" y="45541"/>
                    <a:pt x="148161" y="66080"/>
                    <a:pt x="149053" y="78581"/>
                  </a:cubicBezTo>
                  <a:lnTo>
                    <a:pt x="149053" y="168771"/>
                  </a:lnTo>
                  <a:lnTo>
                    <a:pt x="149053" y="168771"/>
                  </a:lnTo>
                  <a:lnTo>
                    <a:pt x="149053" y="191095"/>
                  </a:lnTo>
                  <a:lnTo>
                    <a:pt x="128525" y="191095"/>
                  </a:lnTo>
                  <a:lnTo>
                    <a:pt x="128525" y="164306"/>
                  </a:lnTo>
                  <a:lnTo>
                    <a:pt x="128525" y="87511"/>
                  </a:lnTo>
                  <a:cubicBezTo>
                    <a:pt x="128525" y="71438"/>
                    <a:pt x="114244" y="59829"/>
                    <a:pt x="97286" y="59829"/>
                  </a:cubicBezTo>
                  <a:cubicBezTo>
                    <a:pt x="83006" y="59829"/>
                    <a:pt x="65155" y="72331"/>
                    <a:pt x="64262" y="85725"/>
                  </a:cubicBezTo>
                  <a:lnTo>
                    <a:pt x="64262" y="167878"/>
                  </a:lnTo>
                  <a:lnTo>
                    <a:pt x="64262" y="168771"/>
                  </a:lnTo>
                  <a:lnTo>
                    <a:pt x="64262" y="191095"/>
                  </a:lnTo>
                  <a:lnTo>
                    <a:pt x="43734" y="191095"/>
                  </a:lnTo>
                  <a:lnTo>
                    <a:pt x="43734" y="167878"/>
                  </a:lnTo>
                  <a:lnTo>
                    <a:pt x="43734" y="65187"/>
                  </a:lnTo>
                  <a:lnTo>
                    <a:pt x="43734" y="46434"/>
                  </a:lnTo>
                  <a:lnTo>
                    <a:pt x="47304" y="46434"/>
                  </a:lnTo>
                  <a:lnTo>
                    <a:pt x="58015" y="46434"/>
                  </a:lnTo>
                  <a:lnTo>
                    <a:pt x="64262" y="46434"/>
                  </a:lnTo>
                  <a:close/>
                  <a:moveTo>
                    <a:pt x="339163" y="165199"/>
                  </a:moveTo>
                  <a:cubicBezTo>
                    <a:pt x="353443" y="177701"/>
                    <a:pt x="365939" y="184845"/>
                    <a:pt x="382004" y="184845"/>
                  </a:cubicBezTo>
                  <a:cubicBezTo>
                    <a:pt x="398070" y="184845"/>
                    <a:pt x="413243" y="176808"/>
                    <a:pt x="413243" y="161627"/>
                  </a:cubicBezTo>
                  <a:cubicBezTo>
                    <a:pt x="413243" y="148233"/>
                    <a:pt x="401640" y="141089"/>
                    <a:pt x="381112" y="132159"/>
                  </a:cubicBezTo>
                  <a:cubicBezTo>
                    <a:pt x="364153" y="125016"/>
                    <a:pt x="350765" y="119658"/>
                    <a:pt x="343625" y="108049"/>
                  </a:cubicBezTo>
                  <a:cubicBezTo>
                    <a:pt x="344518" y="112514"/>
                    <a:pt x="344518" y="117872"/>
                    <a:pt x="344518" y="122337"/>
                  </a:cubicBezTo>
                  <a:cubicBezTo>
                    <a:pt x="344518" y="164306"/>
                    <a:pt x="314172" y="198239"/>
                    <a:pt x="276685" y="198239"/>
                  </a:cubicBezTo>
                  <a:cubicBezTo>
                    <a:pt x="239199" y="198239"/>
                    <a:pt x="208853" y="164306"/>
                    <a:pt x="208853" y="122337"/>
                  </a:cubicBezTo>
                  <a:cubicBezTo>
                    <a:pt x="208853" y="97334"/>
                    <a:pt x="219563" y="74116"/>
                    <a:pt x="237414" y="60722"/>
                  </a:cubicBezTo>
                  <a:lnTo>
                    <a:pt x="191002" y="60722"/>
                  </a:lnTo>
                  <a:lnTo>
                    <a:pt x="191002" y="169664"/>
                  </a:lnTo>
                  <a:lnTo>
                    <a:pt x="191002" y="169664"/>
                  </a:lnTo>
                  <a:lnTo>
                    <a:pt x="191002" y="191988"/>
                  </a:lnTo>
                  <a:lnTo>
                    <a:pt x="170474" y="191988"/>
                  </a:lnTo>
                  <a:lnTo>
                    <a:pt x="170474" y="170557"/>
                  </a:lnTo>
                  <a:cubicBezTo>
                    <a:pt x="170474" y="170557"/>
                    <a:pt x="170474" y="169664"/>
                    <a:pt x="170474" y="169664"/>
                  </a:cubicBezTo>
                  <a:lnTo>
                    <a:pt x="170474" y="60722"/>
                  </a:lnTo>
                  <a:lnTo>
                    <a:pt x="152623" y="60722"/>
                  </a:lnTo>
                  <a:lnTo>
                    <a:pt x="152623" y="47327"/>
                  </a:lnTo>
                  <a:lnTo>
                    <a:pt x="171366" y="47327"/>
                  </a:lnTo>
                  <a:cubicBezTo>
                    <a:pt x="174044" y="19645"/>
                    <a:pt x="191002" y="3572"/>
                    <a:pt x="214208" y="3572"/>
                  </a:cubicBezTo>
                  <a:cubicBezTo>
                    <a:pt x="229381" y="3572"/>
                    <a:pt x="238306" y="5358"/>
                    <a:pt x="242769" y="7144"/>
                  </a:cubicBezTo>
                  <a:lnTo>
                    <a:pt x="242769" y="25896"/>
                  </a:lnTo>
                  <a:cubicBezTo>
                    <a:pt x="242769" y="27682"/>
                    <a:pt x="242769" y="28575"/>
                    <a:pt x="242769" y="28575"/>
                  </a:cubicBezTo>
                  <a:cubicBezTo>
                    <a:pt x="242769" y="28575"/>
                    <a:pt x="241876" y="28575"/>
                    <a:pt x="241876" y="28575"/>
                  </a:cubicBezTo>
                  <a:cubicBezTo>
                    <a:pt x="234736" y="21431"/>
                    <a:pt x="227596" y="16966"/>
                    <a:pt x="209745" y="16966"/>
                  </a:cubicBezTo>
                  <a:cubicBezTo>
                    <a:pt x="196357" y="16966"/>
                    <a:pt x="187432" y="27682"/>
                    <a:pt x="190110" y="47327"/>
                  </a:cubicBezTo>
                  <a:lnTo>
                    <a:pt x="266867" y="47327"/>
                  </a:lnTo>
                  <a:cubicBezTo>
                    <a:pt x="270438" y="46434"/>
                    <a:pt x="273115" y="46434"/>
                    <a:pt x="276685" y="46434"/>
                  </a:cubicBezTo>
                  <a:cubicBezTo>
                    <a:pt x="304354" y="46434"/>
                    <a:pt x="327560" y="64294"/>
                    <a:pt x="338270" y="90190"/>
                  </a:cubicBezTo>
                  <a:cubicBezTo>
                    <a:pt x="338270" y="88404"/>
                    <a:pt x="338270" y="87511"/>
                    <a:pt x="338270" y="85725"/>
                  </a:cubicBezTo>
                  <a:cubicBezTo>
                    <a:pt x="338270" y="58936"/>
                    <a:pt x="364153" y="47327"/>
                    <a:pt x="391822" y="47327"/>
                  </a:cubicBezTo>
                  <a:cubicBezTo>
                    <a:pt x="392715" y="47327"/>
                    <a:pt x="393607" y="47327"/>
                    <a:pt x="394500" y="47327"/>
                  </a:cubicBezTo>
                  <a:cubicBezTo>
                    <a:pt x="404317" y="47327"/>
                    <a:pt x="417705" y="50006"/>
                    <a:pt x="425738" y="52685"/>
                  </a:cubicBezTo>
                  <a:lnTo>
                    <a:pt x="432878" y="71438"/>
                  </a:lnTo>
                  <a:lnTo>
                    <a:pt x="441804" y="92869"/>
                  </a:lnTo>
                  <a:lnTo>
                    <a:pt x="465010" y="149126"/>
                  </a:lnTo>
                  <a:lnTo>
                    <a:pt x="467687" y="158055"/>
                  </a:lnTo>
                  <a:lnTo>
                    <a:pt x="470365" y="149126"/>
                  </a:lnTo>
                  <a:lnTo>
                    <a:pt x="499818" y="76795"/>
                  </a:lnTo>
                  <a:cubicBezTo>
                    <a:pt x="505174" y="57150"/>
                    <a:pt x="526594" y="48220"/>
                    <a:pt x="549800" y="48220"/>
                  </a:cubicBezTo>
                  <a:cubicBezTo>
                    <a:pt x="561403" y="48220"/>
                    <a:pt x="570329" y="50006"/>
                    <a:pt x="580146" y="53578"/>
                  </a:cubicBezTo>
                  <a:lnTo>
                    <a:pt x="580146" y="75009"/>
                  </a:lnTo>
                  <a:cubicBezTo>
                    <a:pt x="567651" y="66080"/>
                    <a:pt x="557833" y="60722"/>
                    <a:pt x="543553" y="60722"/>
                  </a:cubicBezTo>
                  <a:cubicBezTo>
                    <a:pt x="531057" y="60722"/>
                    <a:pt x="515884" y="66080"/>
                    <a:pt x="515884" y="84832"/>
                  </a:cubicBezTo>
                  <a:cubicBezTo>
                    <a:pt x="515884" y="99120"/>
                    <a:pt x="523917" y="101798"/>
                    <a:pt x="548908" y="113407"/>
                  </a:cubicBezTo>
                  <a:cubicBezTo>
                    <a:pt x="569436" y="122337"/>
                    <a:pt x="588179" y="132159"/>
                    <a:pt x="588179" y="154484"/>
                  </a:cubicBezTo>
                  <a:cubicBezTo>
                    <a:pt x="588179" y="191988"/>
                    <a:pt x="550693" y="198239"/>
                    <a:pt x="532842" y="199132"/>
                  </a:cubicBezTo>
                  <a:cubicBezTo>
                    <a:pt x="516777" y="199132"/>
                    <a:pt x="501604" y="195560"/>
                    <a:pt x="493571" y="188416"/>
                  </a:cubicBezTo>
                  <a:lnTo>
                    <a:pt x="493571" y="163413"/>
                  </a:lnTo>
                  <a:lnTo>
                    <a:pt x="494463" y="164306"/>
                  </a:lnTo>
                  <a:cubicBezTo>
                    <a:pt x="508744" y="177701"/>
                    <a:pt x="522132" y="184845"/>
                    <a:pt x="539090" y="184845"/>
                  </a:cubicBezTo>
                  <a:cubicBezTo>
                    <a:pt x="556048" y="184845"/>
                    <a:pt x="570329" y="176808"/>
                    <a:pt x="570329" y="161627"/>
                  </a:cubicBezTo>
                  <a:cubicBezTo>
                    <a:pt x="570329" y="148233"/>
                    <a:pt x="558726" y="141089"/>
                    <a:pt x="538197" y="132159"/>
                  </a:cubicBezTo>
                  <a:cubicBezTo>
                    <a:pt x="518562" y="123230"/>
                    <a:pt x="506066" y="117872"/>
                    <a:pt x="500711" y="103584"/>
                  </a:cubicBezTo>
                  <a:cubicBezTo>
                    <a:pt x="492678" y="123230"/>
                    <a:pt x="455192" y="213419"/>
                    <a:pt x="447159" y="233065"/>
                  </a:cubicBezTo>
                  <a:lnTo>
                    <a:pt x="427523" y="233065"/>
                  </a:lnTo>
                  <a:lnTo>
                    <a:pt x="431986" y="224135"/>
                  </a:lnTo>
                  <a:lnTo>
                    <a:pt x="436449" y="216099"/>
                  </a:lnTo>
                  <a:lnTo>
                    <a:pt x="436449" y="216099"/>
                  </a:lnTo>
                  <a:cubicBezTo>
                    <a:pt x="441804" y="206276"/>
                    <a:pt x="448944" y="191095"/>
                    <a:pt x="455192" y="175915"/>
                  </a:cubicBezTo>
                  <a:lnTo>
                    <a:pt x="416813" y="83046"/>
                  </a:lnTo>
                  <a:cubicBezTo>
                    <a:pt x="416813" y="82153"/>
                    <a:pt x="415920" y="81260"/>
                    <a:pt x="415028" y="77688"/>
                  </a:cubicBezTo>
                  <a:cubicBezTo>
                    <a:pt x="412350" y="70544"/>
                    <a:pt x="409673" y="64294"/>
                    <a:pt x="400747" y="61615"/>
                  </a:cubicBezTo>
                  <a:cubicBezTo>
                    <a:pt x="396285" y="59829"/>
                    <a:pt x="391822" y="58936"/>
                    <a:pt x="385574" y="58936"/>
                  </a:cubicBezTo>
                  <a:cubicBezTo>
                    <a:pt x="373079" y="58936"/>
                    <a:pt x="357013" y="64294"/>
                    <a:pt x="357013" y="83046"/>
                  </a:cubicBezTo>
                  <a:cubicBezTo>
                    <a:pt x="357013" y="97334"/>
                    <a:pt x="365939" y="100012"/>
                    <a:pt x="390929" y="111621"/>
                  </a:cubicBezTo>
                  <a:cubicBezTo>
                    <a:pt x="411458" y="120551"/>
                    <a:pt x="430201" y="130373"/>
                    <a:pt x="430201" y="152698"/>
                  </a:cubicBezTo>
                  <a:cubicBezTo>
                    <a:pt x="430201" y="190202"/>
                    <a:pt x="392715" y="196453"/>
                    <a:pt x="374864" y="197346"/>
                  </a:cubicBezTo>
                  <a:cubicBezTo>
                    <a:pt x="360583" y="197346"/>
                    <a:pt x="347195" y="193774"/>
                    <a:pt x="338270" y="188416"/>
                  </a:cubicBezTo>
                  <a:lnTo>
                    <a:pt x="338270" y="165199"/>
                  </a:lnTo>
                  <a:close/>
                  <a:moveTo>
                    <a:pt x="434664" y="70544"/>
                  </a:moveTo>
                  <a:cubicBezTo>
                    <a:pt x="434664" y="71438"/>
                    <a:pt x="435556" y="72331"/>
                    <a:pt x="435556" y="73223"/>
                  </a:cubicBezTo>
                  <a:lnTo>
                    <a:pt x="443589" y="91976"/>
                  </a:lnTo>
                  <a:lnTo>
                    <a:pt x="434664" y="70544"/>
                  </a:lnTo>
                  <a:close/>
                  <a:moveTo>
                    <a:pt x="432878" y="224135"/>
                  </a:moveTo>
                  <a:cubicBezTo>
                    <a:pt x="433771" y="222349"/>
                    <a:pt x="435556" y="219670"/>
                    <a:pt x="437341" y="216099"/>
                  </a:cubicBezTo>
                  <a:lnTo>
                    <a:pt x="432878" y="224135"/>
                  </a:lnTo>
                  <a:close/>
                  <a:moveTo>
                    <a:pt x="417705" y="83046"/>
                  </a:moveTo>
                  <a:cubicBezTo>
                    <a:pt x="418598" y="83939"/>
                    <a:pt x="416813" y="81260"/>
                    <a:pt x="416813" y="81260"/>
                  </a:cubicBezTo>
                  <a:lnTo>
                    <a:pt x="417705" y="83046"/>
                  </a:lnTo>
                  <a:close/>
                  <a:moveTo>
                    <a:pt x="230274" y="124123"/>
                  </a:moveTo>
                  <a:cubicBezTo>
                    <a:pt x="231166" y="158055"/>
                    <a:pt x="252587" y="185738"/>
                    <a:pt x="277578" y="184845"/>
                  </a:cubicBezTo>
                  <a:cubicBezTo>
                    <a:pt x="303461" y="183952"/>
                    <a:pt x="323990" y="156270"/>
                    <a:pt x="323097" y="122337"/>
                  </a:cubicBezTo>
                  <a:cubicBezTo>
                    <a:pt x="322204" y="88404"/>
                    <a:pt x="300784" y="60722"/>
                    <a:pt x="275793" y="61615"/>
                  </a:cubicBezTo>
                  <a:cubicBezTo>
                    <a:pt x="249909" y="61615"/>
                    <a:pt x="229381" y="90190"/>
                    <a:pt x="230274" y="124123"/>
                  </a:cubicBezTo>
                  <a:moveTo>
                    <a:pt x="0" y="26789"/>
                  </a:moveTo>
                  <a:lnTo>
                    <a:pt x="0" y="26789"/>
                  </a:lnTo>
                  <a:lnTo>
                    <a:pt x="0" y="4465"/>
                  </a:lnTo>
                  <a:lnTo>
                    <a:pt x="22313" y="4465"/>
                  </a:lnTo>
                  <a:lnTo>
                    <a:pt x="22313" y="26789"/>
                  </a:lnTo>
                  <a:lnTo>
                    <a:pt x="22313" y="26789"/>
                  </a:lnTo>
                  <a:lnTo>
                    <a:pt x="22313" y="169664"/>
                  </a:lnTo>
                  <a:lnTo>
                    <a:pt x="22313" y="170557"/>
                  </a:lnTo>
                  <a:lnTo>
                    <a:pt x="22313" y="192881"/>
                  </a:lnTo>
                  <a:lnTo>
                    <a:pt x="0" y="192881"/>
                  </a:lnTo>
                  <a:lnTo>
                    <a:pt x="0" y="170557"/>
                  </a:lnTo>
                  <a:lnTo>
                    <a:pt x="0" y="170557"/>
                  </a:lnTo>
                  <a:lnTo>
                    <a:pt x="0" y="26789"/>
                  </a:lnTo>
                  <a:close/>
                  <a:moveTo>
                    <a:pt x="610493" y="11609"/>
                  </a:moveTo>
                  <a:lnTo>
                    <a:pt x="614955" y="11609"/>
                  </a:lnTo>
                  <a:cubicBezTo>
                    <a:pt x="616740" y="11609"/>
                    <a:pt x="618525" y="12502"/>
                    <a:pt x="618525" y="14288"/>
                  </a:cubicBezTo>
                  <a:cubicBezTo>
                    <a:pt x="618525" y="16073"/>
                    <a:pt x="616740" y="16966"/>
                    <a:pt x="615848" y="16966"/>
                  </a:cubicBezTo>
                  <a:lnTo>
                    <a:pt x="611385" y="16966"/>
                  </a:lnTo>
                  <a:lnTo>
                    <a:pt x="611385" y="11609"/>
                  </a:lnTo>
                  <a:close/>
                  <a:moveTo>
                    <a:pt x="606922" y="28575"/>
                  </a:moveTo>
                  <a:lnTo>
                    <a:pt x="610493" y="28575"/>
                  </a:lnTo>
                  <a:lnTo>
                    <a:pt x="610493" y="20538"/>
                  </a:lnTo>
                  <a:lnTo>
                    <a:pt x="614955" y="20538"/>
                  </a:lnTo>
                  <a:lnTo>
                    <a:pt x="618525" y="28575"/>
                  </a:lnTo>
                  <a:lnTo>
                    <a:pt x="622988" y="28575"/>
                  </a:lnTo>
                  <a:lnTo>
                    <a:pt x="619418" y="19645"/>
                  </a:lnTo>
                  <a:cubicBezTo>
                    <a:pt x="620310" y="18752"/>
                    <a:pt x="622988" y="17859"/>
                    <a:pt x="622988" y="14288"/>
                  </a:cubicBezTo>
                  <a:cubicBezTo>
                    <a:pt x="622988" y="8037"/>
                    <a:pt x="618525" y="8037"/>
                    <a:pt x="614955" y="8037"/>
                  </a:cubicBezTo>
                  <a:lnTo>
                    <a:pt x="607815" y="8037"/>
                  </a:lnTo>
                  <a:lnTo>
                    <a:pt x="607815" y="28575"/>
                  </a:lnTo>
                  <a:close/>
                  <a:moveTo>
                    <a:pt x="597105" y="18752"/>
                  </a:moveTo>
                  <a:cubicBezTo>
                    <a:pt x="597105" y="9823"/>
                    <a:pt x="604245" y="2679"/>
                    <a:pt x="613170" y="2679"/>
                  </a:cubicBezTo>
                  <a:cubicBezTo>
                    <a:pt x="622095" y="2679"/>
                    <a:pt x="629236" y="9823"/>
                    <a:pt x="629236" y="18752"/>
                  </a:cubicBezTo>
                  <a:cubicBezTo>
                    <a:pt x="629236" y="27682"/>
                    <a:pt x="622095" y="34826"/>
                    <a:pt x="613170" y="34826"/>
                  </a:cubicBezTo>
                  <a:cubicBezTo>
                    <a:pt x="605137" y="34826"/>
                    <a:pt x="597105" y="27682"/>
                    <a:pt x="597105" y="18752"/>
                  </a:cubicBezTo>
                  <a:moveTo>
                    <a:pt x="614063" y="37505"/>
                  </a:moveTo>
                  <a:cubicBezTo>
                    <a:pt x="624773" y="37505"/>
                    <a:pt x="632806" y="28575"/>
                    <a:pt x="632806" y="18752"/>
                  </a:cubicBezTo>
                  <a:cubicBezTo>
                    <a:pt x="632806" y="8037"/>
                    <a:pt x="623881" y="0"/>
                    <a:pt x="614063" y="0"/>
                  </a:cubicBezTo>
                  <a:cubicBezTo>
                    <a:pt x="603352" y="0"/>
                    <a:pt x="595319" y="8930"/>
                    <a:pt x="595319" y="18752"/>
                  </a:cubicBezTo>
                  <a:cubicBezTo>
                    <a:pt x="594427" y="29468"/>
                    <a:pt x="603352" y="37505"/>
                    <a:pt x="614063" y="37505"/>
                  </a:cubicBezTo>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nvGrpSpPr>
            <p:cNvPr id="83" name="Graphic 84">
              <a:extLst>
                <a:ext uri="{FF2B5EF4-FFF2-40B4-BE49-F238E27FC236}">
                  <a16:creationId xmlns:a16="http://schemas.microsoft.com/office/drawing/2014/main" id="{6FBC8D0A-FB68-1745-B7FB-F7395F0C42F5}"/>
                </a:ext>
              </a:extLst>
            </p:cNvPr>
            <p:cNvGrpSpPr/>
            <p:nvPr/>
          </p:nvGrpSpPr>
          <p:grpSpPr>
            <a:xfrm>
              <a:off x="1419730" y="6214447"/>
              <a:ext cx="1074563" cy="136489"/>
              <a:chOff x="2068891" y="2157412"/>
              <a:chExt cx="1026412" cy="130373"/>
            </a:xfrm>
            <a:solidFill>
              <a:srgbClr val="FFFFFF"/>
            </a:solidFill>
          </p:grpSpPr>
          <p:sp>
            <p:nvSpPr>
              <p:cNvPr id="102" name="Freeform 101">
                <a:extLst>
                  <a:ext uri="{FF2B5EF4-FFF2-40B4-BE49-F238E27FC236}">
                    <a16:creationId xmlns:a16="http://schemas.microsoft.com/office/drawing/2014/main" id="{7A744043-1F9F-5B41-9E2A-5EADB0F81632}"/>
                  </a:ext>
                </a:extLst>
              </p:cNvPr>
              <p:cNvSpPr/>
              <p:nvPr/>
            </p:nvSpPr>
            <p:spPr>
              <a:xfrm>
                <a:off x="2068891" y="2157412"/>
                <a:ext cx="97286" cy="129480"/>
              </a:xfrm>
              <a:custGeom>
                <a:avLst/>
                <a:gdLst>
                  <a:gd name="connsiteX0" fmla="*/ 96394 w 97286"/>
                  <a:gd name="connsiteY0" fmla="*/ 124123 h 129480"/>
                  <a:gd name="connsiteX1" fmla="*/ 64262 w 97286"/>
                  <a:gd name="connsiteY1" fmla="*/ 129480 h 129480"/>
                  <a:gd name="connsiteX2" fmla="*/ 0 w 97286"/>
                  <a:gd name="connsiteY2" fmla="*/ 66080 h 129480"/>
                  <a:gd name="connsiteX3" fmla="*/ 66940 w 97286"/>
                  <a:gd name="connsiteY3" fmla="*/ 0 h 129480"/>
                  <a:gd name="connsiteX4" fmla="*/ 97286 w 97286"/>
                  <a:gd name="connsiteY4" fmla="*/ 5358 h 129480"/>
                  <a:gd name="connsiteX5" fmla="*/ 91931 w 97286"/>
                  <a:gd name="connsiteY5" fmla="*/ 23217 h 129480"/>
                  <a:gd name="connsiteX6" fmla="*/ 67832 w 97286"/>
                  <a:gd name="connsiteY6" fmla="*/ 18752 h 129480"/>
                  <a:gd name="connsiteX7" fmla="*/ 24098 w 97286"/>
                  <a:gd name="connsiteY7" fmla="*/ 65187 h 129480"/>
                  <a:gd name="connsiteX8" fmla="*/ 67832 w 97286"/>
                  <a:gd name="connsiteY8" fmla="*/ 110728 h 129480"/>
                  <a:gd name="connsiteX9" fmla="*/ 92823 w 97286"/>
                  <a:gd name="connsiteY9" fmla="*/ 106263 h 129480"/>
                  <a:gd name="connsiteX10" fmla="*/ 96394 w 97286"/>
                  <a:gd name="connsiteY10" fmla="*/ 124123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9480">
                    <a:moveTo>
                      <a:pt x="96394" y="124123"/>
                    </a:moveTo>
                    <a:cubicBezTo>
                      <a:pt x="91038" y="126802"/>
                      <a:pt x="79435" y="129480"/>
                      <a:pt x="64262" y="129480"/>
                    </a:cubicBezTo>
                    <a:cubicBezTo>
                      <a:pt x="24098" y="129480"/>
                      <a:pt x="0" y="104477"/>
                      <a:pt x="0" y="66080"/>
                    </a:cubicBezTo>
                    <a:cubicBezTo>
                      <a:pt x="0" y="25003"/>
                      <a:pt x="28561" y="0"/>
                      <a:pt x="66940" y="0"/>
                    </a:cubicBezTo>
                    <a:cubicBezTo>
                      <a:pt x="82113" y="0"/>
                      <a:pt x="92823" y="3572"/>
                      <a:pt x="97286" y="5358"/>
                    </a:cubicBezTo>
                    <a:lnTo>
                      <a:pt x="91931" y="23217"/>
                    </a:lnTo>
                    <a:cubicBezTo>
                      <a:pt x="85683" y="20538"/>
                      <a:pt x="77650" y="18752"/>
                      <a:pt x="67832" y="18752"/>
                    </a:cubicBezTo>
                    <a:cubicBezTo>
                      <a:pt x="41949" y="18752"/>
                      <a:pt x="24098" y="34826"/>
                      <a:pt x="24098" y="65187"/>
                    </a:cubicBezTo>
                    <a:cubicBezTo>
                      <a:pt x="24098" y="92869"/>
                      <a:pt x="40164" y="110728"/>
                      <a:pt x="67832" y="110728"/>
                    </a:cubicBezTo>
                    <a:cubicBezTo>
                      <a:pt x="76758" y="110728"/>
                      <a:pt x="86576" y="108942"/>
                      <a:pt x="92823" y="106263"/>
                    </a:cubicBezTo>
                    <a:lnTo>
                      <a:pt x="96394" y="124123"/>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3" name="Freeform 102">
                <a:extLst>
                  <a:ext uri="{FF2B5EF4-FFF2-40B4-BE49-F238E27FC236}">
                    <a16:creationId xmlns:a16="http://schemas.microsoft.com/office/drawing/2014/main" id="{536E3942-3947-B64C-BF19-46012CDE801A}"/>
                  </a:ext>
                </a:extLst>
              </p:cNvPr>
              <p:cNvSpPr/>
              <p:nvPr/>
            </p:nvSpPr>
            <p:spPr>
              <a:xfrm>
                <a:off x="2175102" y="2159177"/>
                <a:ext cx="117814" cy="128608"/>
              </a:xfrm>
              <a:custGeom>
                <a:avLst/>
                <a:gdLst>
                  <a:gd name="connsiteX0" fmla="*/ 117814 w 117814"/>
                  <a:gd name="connsiteY0" fmla="*/ 62529 h 128608"/>
                  <a:gd name="connsiteX1" fmla="*/ 58015 w 117814"/>
                  <a:gd name="connsiteY1" fmla="*/ 128609 h 128608"/>
                  <a:gd name="connsiteX2" fmla="*/ 0 w 117814"/>
                  <a:gd name="connsiteY2" fmla="*/ 65208 h 128608"/>
                  <a:gd name="connsiteX3" fmla="*/ 59800 w 117814"/>
                  <a:gd name="connsiteY3" fmla="*/ 21 h 128608"/>
                  <a:gd name="connsiteX4" fmla="*/ 117814 w 117814"/>
                  <a:gd name="connsiteY4" fmla="*/ 62529 h 128608"/>
                  <a:gd name="connsiteX5" fmla="*/ 24098 w 117814"/>
                  <a:gd name="connsiteY5" fmla="*/ 64315 h 128608"/>
                  <a:gd name="connsiteX6" fmla="*/ 58907 w 117814"/>
                  <a:gd name="connsiteY6" fmla="*/ 109856 h 128608"/>
                  <a:gd name="connsiteX7" fmla="*/ 93716 w 117814"/>
                  <a:gd name="connsiteY7" fmla="*/ 63422 h 128608"/>
                  <a:gd name="connsiteX8" fmla="*/ 58907 w 117814"/>
                  <a:gd name="connsiteY8" fmla="*/ 16987 h 128608"/>
                  <a:gd name="connsiteX9" fmla="*/ 24098 w 117814"/>
                  <a:gd name="connsiteY9" fmla="*/ 64315 h 1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14" h="128608">
                    <a:moveTo>
                      <a:pt x="117814" y="62529"/>
                    </a:moveTo>
                    <a:cubicBezTo>
                      <a:pt x="117814" y="104498"/>
                      <a:pt x="91931" y="128609"/>
                      <a:pt x="58015" y="128609"/>
                    </a:cubicBezTo>
                    <a:cubicBezTo>
                      <a:pt x="22313" y="128609"/>
                      <a:pt x="0" y="101819"/>
                      <a:pt x="0" y="65208"/>
                    </a:cubicBezTo>
                    <a:cubicBezTo>
                      <a:pt x="0" y="26810"/>
                      <a:pt x="24098" y="21"/>
                      <a:pt x="59800" y="21"/>
                    </a:cubicBezTo>
                    <a:cubicBezTo>
                      <a:pt x="95501" y="-872"/>
                      <a:pt x="117814" y="26810"/>
                      <a:pt x="117814" y="62529"/>
                    </a:cubicBezTo>
                    <a:close/>
                    <a:moveTo>
                      <a:pt x="24098" y="64315"/>
                    </a:moveTo>
                    <a:cubicBezTo>
                      <a:pt x="24098" y="90211"/>
                      <a:pt x="36594" y="109856"/>
                      <a:pt x="58907" y="109856"/>
                    </a:cubicBezTo>
                    <a:cubicBezTo>
                      <a:pt x="81221" y="109856"/>
                      <a:pt x="93716" y="89318"/>
                      <a:pt x="93716" y="63422"/>
                    </a:cubicBezTo>
                    <a:cubicBezTo>
                      <a:pt x="93716" y="40205"/>
                      <a:pt x="82113" y="16987"/>
                      <a:pt x="58907" y="16987"/>
                    </a:cubicBezTo>
                    <a:cubicBezTo>
                      <a:pt x="35701" y="16987"/>
                      <a:pt x="24098" y="38419"/>
                      <a:pt x="24098" y="64315"/>
                    </a:cubicBez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4" name="Freeform 103">
                <a:extLst>
                  <a:ext uri="{FF2B5EF4-FFF2-40B4-BE49-F238E27FC236}">
                    <a16:creationId xmlns:a16="http://schemas.microsoft.com/office/drawing/2014/main" id="{CA1E2A5D-4035-BC48-9C27-B2234F1A6343}"/>
                  </a:ext>
                </a:extLst>
              </p:cNvPr>
              <p:cNvSpPr/>
              <p:nvPr/>
            </p:nvSpPr>
            <p:spPr>
              <a:xfrm>
                <a:off x="2308982" y="2160091"/>
                <a:ext cx="99070" cy="125015"/>
              </a:xfrm>
              <a:custGeom>
                <a:avLst/>
                <a:gdLst>
                  <a:gd name="connsiteX0" fmla="*/ 0 w 99070"/>
                  <a:gd name="connsiteY0" fmla="*/ 125016 h 125015"/>
                  <a:gd name="connsiteX1" fmla="*/ 0 w 99070"/>
                  <a:gd name="connsiteY1" fmla="*/ 0 h 125015"/>
                  <a:gd name="connsiteX2" fmla="*/ 25883 w 99070"/>
                  <a:gd name="connsiteY2" fmla="*/ 0 h 125015"/>
                  <a:gd name="connsiteX3" fmla="*/ 58015 w 99070"/>
                  <a:gd name="connsiteY3" fmla="*/ 53578 h 125015"/>
                  <a:gd name="connsiteX4" fmla="*/ 79435 w 99070"/>
                  <a:gd name="connsiteY4" fmla="*/ 95548 h 125015"/>
                  <a:gd name="connsiteX5" fmla="*/ 79435 w 99070"/>
                  <a:gd name="connsiteY5" fmla="*/ 95548 h 125015"/>
                  <a:gd name="connsiteX6" fmla="*/ 77650 w 99070"/>
                  <a:gd name="connsiteY6" fmla="*/ 43756 h 125015"/>
                  <a:gd name="connsiteX7" fmla="*/ 77650 w 99070"/>
                  <a:gd name="connsiteY7" fmla="*/ 0 h 125015"/>
                  <a:gd name="connsiteX8" fmla="*/ 99071 w 99070"/>
                  <a:gd name="connsiteY8" fmla="*/ 0 h 125015"/>
                  <a:gd name="connsiteX9" fmla="*/ 99071 w 99070"/>
                  <a:gd name="connsiteY9" fmla="*/ 125016 h 125015"/>
                  <a:gd name="connsiteX10" fmla="*/ 75865 w 99070"/>
                  <a:gd name="connsiteY10" fmla="*/ 125016 h 125015"/>
                  <a:gd name="connsiteX11" fmla="*/ 42841 w 99070"/>
                  <a:gd name="connsiteY11" fmla="*/ 69652 h 125015"/>
                  <a:gd name="connsiteX12" fmla="*/ 20528 w 99070"/>
                  <a:gd name="connsiteY12" fmla="*/ 26789 h 125015"/>
                  <a:gd name="connsiteX13" fmla="*/ 19636 w 99070"/>
                  <a:gd name="connsiteY13" fmla="*/ 26789 h 125015"/>
                  <a:gd name="connsiteX14" fmla="*/ 20528 w 99070"/>
                  <a:gd name="connsiteY14" fmla="*/ 80367 h 125015"/>
                  <a:gd name="connsiteX15" fmla="*/ 20528 w 99070"/>
                  <a:gd name="connsiteY15" fmla="*/ 125016 h 125015"/>
                  <a:gd name="connsiteX16" fmla="*/ 0 w 99070"/>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0" h="125015">
                    <a:moveTo>
                      <a:pt x="0" y="125016"/>
                    </a:moveTo>
                    <a:lnTo>
                      <a:pt x="0" y="0"/>
                    </a:lnTo>
                    <a:lnTo>
                      <a:pt x="25883" y="0"/>
                    </a:lnTo>
                    <a:lnTo>
                      <a:pt x="58015" y="53578"/>
                    </a:lnTo>
                    <a:cubicBezTo>
                      <a:pt x="66047" y="67866"/>
                      <a:pt x="73188" y="82153"/>
                      <a:pt x="79435" y="95548"/>
                    </a:cubicBezTo>
                    <a:lnTo>
                      <a:pt x="79435" y="95548"/>
                    </a:lnTo>
                    <a:cubicBezTo>
                      <a:pt x="77650" y="78581"/>
                      <a:pt x="77650" y="62508"/>
                      <a:pt x="77650" y="43756"/>
                    </a:cubicBezTo>
                    <a:lnTo>
                      <a:pt x="77650" y="0"/>
                    </a:lnTo>
                    <a:lnTo>
                      <a:pt x="99071" y="0"/>
                    </a:lnTo>
                    <a:lnTo>
                      <a:pt x="99071" y="125016"/>
                    </a:lnTo>
                    <a:lnTo>
                      <a:pt x="75865" y="125016"/>
                    </a:lnTo>
                    <a:lnTo>
                      <a:pt x="42841"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5" name="Freeform 104">
                <a:extLst>
                  <a:ext uri="{FF2B5EF4-FFF2-40B4-BE49-F238E27FC236}">
                    <a16:creationId xmlns:a16="http://schemas.microsoft.com/office/drawing/2014/main" id="{C3CA621E-D409-2049-8E8B-F8DCC68B5691}"/>
                  </a:ext>
                </a:extLst>
              </p:cNvPr>
              <p:cNvSpPr/>
              <p:nvPr/>
            </p:nvSpPr>
            <p:spPr>
              <a:xfrm>
                <a:off x="2426797" y="2158305"/>
                <a:ext cx="81220" cy="129480"/>
              </a:xfrm>
              <a:custGeom>
                <a:avLst/>
                <a:gdLst>
                  <a:gd name="connsiteX0" fmla="*/ 3570 w 81220"/>
                  <a:gd name="connsiteY0" fmla="*/ 101799 h 129480"/>
                  <a:gd name="connsiteX1" fmla="*/ 33916 w 81220"/>
                  <a:gd name="connsiteY1" fmla="*/ 109835 h 129480"/>
                  <a:gd name="connsiteX2" fmla="*/ 57122 w 81220"/>
                  <a:gd name="connsiteY2" fmla="*/ 92869 h 129480"/>
                  <a:gd name="connsiteX3" fmla="*/ 34809 w 81220"/>
                  <a:gd name="connsiteY3" fmla="*/ 72331 h 129480"/>
                  <a:gd name="connsiteX4" fmla="*/ 893 w 81220"/>
                  <a:gd name="connsiteY4" fmla="*/ 35719 h 129480"/>
                  <a:gd name="connsiteX5" fmla="*/ 45519 w 81220"/>
                  <a:gd name="connsiteY5" fmla="*/ 0 h 129480"/>
                  <a:gd name="connsiteX6" fmla="*/ 75865 w 81220"/>
                  <a:gd name="connsiteY6" fmla="*/ 6251 h 129480"/>
                  <a:gd name="connsiteX7" fmla="*/ 70510 w 81220"/>
                  <a:gd name="connsiteY7" fmla="*/ 25003 h 129480"/>
                  <a:gd name="connsiteX8" fmla="*/ 45519 w 81220"/>
                  <a:gd name="connsiteY8" fmla="*/ 18752 h 129480"/>
                  <a:gd name="connsiteX9" fmla="*/ 24991 w 81220"/>
                  <a:gd name="connsiteY9" fmla="*/ 33933 h 129480"/>
                  <a:gd name="connsiteX10" fmla="*/ 49089 w 81220"/>
                  <a:gd name="connsiteY10" fmla="*/ 54471 h 129480"/>
                  <a:gd name="connsiteX11" fmla="*/ 81221 w 81220"/>
                  <a:gd name="connsiteY11" fmla="*/ 91976 h 129480"/>
                  <a:gd name="connsiteX12" fmla="*/ 33916 w 81220"/>
                  <a:gd name="connsiteY12" fmla="*/ 129481 h 129480"/>
                  <a:gd name="connsiteX13" fmla="*/ 0 w 81220"/>
                  <a:gd name="connsiteY13" fmla="*/ 121444 h 129480"/>
                  <a:gd name="connsiteX14" fmla="*/ 3570 w 81220"/>
                  <a:gd name="connsiteY14" fmla="*/ 101799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20" h="129480">
                    <a:moveTo>
                      <a:pt x="3570" y="101799"/>
                    </a:moveTo>
                    <a:cubicBezTo>
                      <a:pt x="10711" y="106263"/>
                      <a:pt x="22313" y="109835"/>
                      <a:pt x="33916" y="109835"/>
                    </a:cubicBezTo>
                    <a:cubicBezTo>
                      <a:pt x="48197" y="109835"/>
                      <a:pt x="57122" y="102691"/>
                      <a:pt x="57122" y="92869"/>
                    </a:cubicBezTo>
                    <a:cubicBezTo>
                      <a:pt x="57122" y="83046"/>
                      <a:pt x="50874" y="77688"/>
                      <a:pt x="34809" y="72331"/>
                    </a:cubicBezTo>
                    <a:cubicBezTo>
                      <a:pt x="14281" y="65187"/>
                      <a:pt x="893" y="53578"/>
                      <a:pt x="893" y="35719"/>
                    </a:cubicBezTo>
                    <a:cubicBezTo>
                      <a:pt x="893" y="15180"/>
                      <a:pt x="17851" y="0"/>
                      <a:pt x="45519" y="0"/>
                    </a:cubicBezTo>
                    <a:cubicBezTo>
                      <a:pt x="58907" y="0"/>
                      <a:pt x="68725" y="2679"/>
                      <a:pt x="75865" y="6251"/>
                    </a:cubicBezTo>
                    <a:lnTo>
                      <a:pt x="70510" y="25003"/>
                    </a:lnTo>
                    <a:cubicBezTo>
                      <a:pt x="66047" y="22324"/>
                      <a:pt x="57122" y="18752"/>
                      <a:pt x="45519" y="18752"/>
                    </a:cubicBezTo>
                    <a:cubicBezTo>
                      <a:pt x="31239" y="18752"/>
                      <a:pt x="24991" y="26789"/>
                      <a:pt x="24991" y="33933"/>
                    </a:cubicBezTo>
                    <a:cubicBezTo>
                      <a:pt x="24991" y="43756"/>
                      <a:pt x="32131" y="48220"/>
                      <a:pt x="49089" y="54471"/>
                    </a:cubicBezTo>
                    <a:cubicBezTo>
                      <a:pt x="70510" y="62508"/>
                      <a:pt x="81221" y="73223"/>
                      <a:pt x="81221" y="91976"/>
                    </a:cubicBezTo>
                    <a:cubicBezTo>
                      <a:pt x="81221" y="111621"/>
                      <a:pt x="66047" y="129481"/>
                      <a:pt x="33916" y="129481"/>
                    </a:cubicBezTo>
                    <a:cubicBezTo>
                      <a:pt x="20528" y="129481"/>
                      <a:pt x="7140" y="125909"/>
                      <a:pt x="0" y="121444"/>
                    </a:cubicBezTo>
                    <a:lnTo>
                      <a:pt x="3570" y="101799"/>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6" name="Freeform 105">
                <a:extLst>
                  <a:ext uri="{FF2B5EF4-FFF2-40B4-BE49-F238E27FC236}">
                    <a16:creationId xmlns:a16="http://schemas.microsoft.com/office/drawing/2014/main" id="{8918B3DB-07AA-A94F-9CE6-7E522F491091}"/>
                  </a:ext>
                </a:extLst>
              </p:cNvPr>
              <p:cNvSpPr/>
              <p:nvPr/>
            </p:nvSpPr>
            <p:spPr>
              <a:xfrm>
                <a:off x="2524975" y="2160091"/>
                <a:ext cx="97286" cy="126801"/>
              </a:xfrm>
              <a:custGeom>
                <a:avLst/>
                <a:gdLst>
                  <a:gd name="connsiteX0" fmla="*/ 21421 w 97286"/>
                  <a:gd name="connsiteY0" fmla="*/ 0 h 126801"/>
                  <a:gd name="connsiteX1" fmla="*/ 21421 w 97286"/>
                  <a:gd name="connsiteY1" fmla="*/ 73224 h 126801"/>
                  <a:gd name="connsiteX2" fmla="*/ 47304 w 97286"/>
                  <a:gd name="connsiteY2" fmla="*/ 108942 h 126801"/>
                  <a:gd name="connsiteX3" fmla="*/ 74080 w 97286"/>
                  <a:gd name="connsiteY3" fmla="*/ 73224 h 126801"/>
                  <a:gd name="connsiteX4" fmla="*/ 74080 w 97286"/>
                  <a:gd name="connsiteY4" fmla="*/ 0 h 126801"/>
                  <a:gd name="connsiteX5" fmla="*/ 97286 w 97286"/>
                  <a:gd name="connsiteY5" fmla="*/ 0 h 126801"/>
                  <a:gd name="connsiteX6" fmla="*/ 97286 w 97286"/>
                  <a:gd name="connsiteY6" fmla="*/ 71438 h 126801"/>
                  <a:gd name="connsiteX7" fmla="*/ 47304 w 97286"/>
                  <a:gd name="connsiteY7" fmla="*/ 126802 h 126801"/>
                  <a:gd name="connsiteX8" fmla="*/ 0 w 97286"/>
                  <a:gd name="connsiteY8" fmla="*/ 71438 h 126801"/>
                  <a:gd name="connsiteX9" fmla="*/ 0 w 97286"/>
                  <a:gd name="connsiteY9" fmla="*/ 0 h 126801"/>
                  <a:gd name="connsiteX10" fmla="*/ 21421 w 97286"/>
                  <a:gd name="connsiteY10" fmla="*/ 0 h 12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6801">
                    <a:moveTo>
                      <a:pt x="21421" y="0"/>
                    </a:moveTo>
                    <a:lnTo>
                      <a:pt x="21421" y="73224"/>
                    </a:lnTo>
                    <a:cubicBezTo>
                      <a:pt x="21421" y="97334"/>
                      <a:pt x="31239" y="108942"/>
                      <a:pt x="47304" y="108942"/>
                    </a:cubicBezTo>
                    <a:cubicBezTo>
                      <a:pt x="64262" y="108942"/>
                      <a:pt x="74080" y="97334"/>
                      <a:pt x="74080" y="73224"/>
                    </a:cubicBezTo>
                    <a:lnTo>
                      <a:pt x="74080" y="0"/>
                    </a:lnTo>
                    <a:lnTo>
                      <a:pt x="97286" y="0"/>
                    </a:lnTo>
                    <a:lnTo>
                      <a:pt x="97286" y="71438"/>
                    </a:lnTo>
                    <a:cubicBezTo>
                      <a:pt x="97286" y="109835"/>
                      <a:pt x="77650" y="126802"/>
                      <a:pt x="47304" y="126802"/>
                    </a:cubicBezTo>
                    <a:cubicBezTo>
                      <a:pt x="18743" y="126802"/>
                      <a:pt x="0" y="110728"/>
                      <a:pt x="0" y="71438"/>
                    </a:cubicBezTo>
                    <a:lnTo>
                      <a:pt x="0" y="0"/>
                    </a:lnTo>
                    <a:lnTo>
                      <a:pt x="21421"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7" name="Freeform 106">
                <a:extLst>
                  <a:ext uri="{FF2B5EF4-FFF2-40B4-BE49-F238E27FC236}">
                    <a16:creationId xmlns:a16="http://schemas.microsoft.com/office/drawing/2014/main" id="{75F2EDC0-41F3-7B4A-9193-2B8DF321D018}"/>
                  </a:ext>
                </a:extLst>
              </p:cNvPr>
              <p:cNvSpPr/>
              <p:nvPr/>
            </p:nvSpPr>
            <p:spPr>
              <a:xfrm>
                <a:off x="2644575" y="2160091"/>
                <a:ext cx="74972" cy="125015"/>
              </a:xfrm>
              <a:custGeom>
                <a:avLst/>
                <a:gdLst>
                  <a:gd name="connsiteX0" fmla="*/ 0 w 74972"/>
                  <a:gd name="connsiteY0" fmla="*/ 0 h 125015"/>
                  <a:gd name="connsiteX1" fmla="*/ 23206 w 74972"/>
                  <a:gd name="connsiteY1" fmla="*/ 0 h 125015"/>
                  <a:gd name="connsiteX2" fmla="*/ 23206 w 74972"/>
                  <a:gd name="connsiteY2" fmla="*/ 106263 h 125015"/>
                  <a:gd name="connsiteX3" fmla="*/ 74973 w 74972"/>
                  <a:gd name="connsiteY3" fmla="*/ 106263 h 125015"/>
                  <a:gd name="connsiteX4" fmla="*/ 74973 w 74972"/>
                  <a:gd name="connsiteY4" fmla="*/ 125016 h 125015"/>
                  <a:gd name="connsiteX5" fmla="*/ 893 w 74972"/>
                  <a:gd name="connsiteY5" fmla="*/ 125016 h 125015"/>
                  <a:gd name="connsiteX6" fmla="*/ 893 w 74972"/>
                  <a:gd name="connsiteY6" fmla="*/ 0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72" h="125015">
                    <a:moveTo>
                      <a:pt x="0" y="0"/>
                    </a:moveTo>
                    <a:lnTo>
                      <a:pt x="23206" y="0"/>
                    </a:lnTo>
                    <a:lnTo>
                      <a:pt x="23206" y="106263"/>
                    </a:lnTo>
                    <a:lnTo>
                      <a:pt x="74973" y="106263"/>
                    </a:lnTo>
                    <a:lnTo>
                      <a:pt x="74973" y="125016"/>
                    </a:lnTo>
                    <a:lnTo>
                      <a:pt x="893" y="125016"/>
                    </a:lnTo>
                    <a:lnTo>
                      <a:pt x="893"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8" name="Freeform 107">
                <a:extLst>
                  <a:ext uri="{FF2B5EF4-FFF2-40B4-BE49-F238E27FC236}">
                    <a16:creationId xmlns:a16="http://schemas.microsoft.com/office/drawing/2014/main" id="{0E8C95A6-91B8-C340-876E-443DCAC839C6}"/>
                  </a:ext>
                </a:extLst>
              </p:cNvPr>
              <p:cNvSpPr/>
              <p:nvPr/>
            </p:nvSpPr>
            <p:spPr>
              <a:xfrm>
                <a:off x="2720440" y="2160091"/>
                <a:ext cx="94608" cy="125015"/>
              </a:xfrm>
              <a:custGeom>
                <a:avLst/>
                <a:gdLst>
                  <a:gd name="connsiteX0" fmla="*/ 35701 w 94608"/>
                  <a:gd name="connsiteY0" fmla="*/ 18752 h 125015"/>
                  <a:gd name="connsiteX1" fmla="*/ 0 w 94608"/>
                  <a:gd name="connsiteY1" fmla="*/ 18752 h 125015"/>
                  <a:gd name="connsiteX2" fmla="*/ 0 w 94608"/>
                  <a:gd name="connsiteY2" fmla="*/ 0 h 125015"/>
                  <a:gd name="connsiteX3" fmla="*/ 94609 w 94608"/>
                  <a:gd name="connsiteY3" fmla="*/ 0 h 125015"/>
                  <a:gd name="connsiteX4" fmla="*/ 94609 w 94608"/>
                  <a:gd name="connsiteY4" fmla="*/ 18752 h 125015"/>
                  <a:gd name="connsiteX5" fmla="*/ 58907 w 94608"/>
                  <a:gd name="connsiteY5" fmla="*/ 18752 h 125015"/>
                  <a:gd name="connsiteX6" fmla="*/ 58907 w 94608"/>
                  <a:gd name="connsiteY6" fmla="*/ 125016 h 125015"/>
                  <a:gd name="connsiteX7" fmla="*/ 35701 w 94608"/>
                  <a:gd name="connsiteY7" fmla="*/ 125016 h 125015"/>
                  <a:gd name="connsiteX8" fmla="*/ 35701 w 94608"/>
                  <a:gd name="connsiteY8" fmla="*/ 18752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08" h="125015">
                    <a:moveTo>
                      <a:pt x="35701" y="18752"/>
                    </a:moveTo>
                    <a:lnTo>
                      <a:pt x="0" y="18752"/>
                    </a:lnTo>
                    <a:lnTo>
                      <a:pt x="0" y="0"/>
                    </a:lnTo>
                    <a:lnTo>
                      <a:pt x="94609" y="0"/>
                    </a:lnTo>
                    <a:lnTo>
                      <a:pt x="94609" y="18752"/>
                    </a:lnTo>
                    <a:lnTo>
                      <a:pt x="58907" y="18752"/>
                    </a:lnTo>
                    <a:lnTo>
                      <a:pt x="58907" y="125016"/>
                    </a:lnTo>
                    <a:lnTo>
                      <a:pt x="35701" y="125016"/>
                    </a:lnTo>
                    <a:lnTo>
                      <a:pt x="35701" y="18752"/>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09" name="Freeform 108">
                <a:extLst>
                  <a:ext uri="{FF2B5EF4-FFF2-40B4-BE49-F238E27FC236}">
                    <a16:creationId xmlns:a16="http://schemas.microsoft.com/office/drawing/2014/main" id="{142F7C85-2F5F-E54B-884B-38665812AB1C}"/>
                  </a:ext>
                </a:extLst>
              </p:cNvPr>
              <p:cNvSpPr/>
              <p:nvPr/>
            </p:nvSpPr>
            <p:spPr>
              <a:xfrm>
                <a:off x="2826651" y="2160091"/>
                <a:ext cx="23205" cy="125015"/>
              </a:xfrm>
              <a:custGeom>
                <a:avLst/>
                <a:gdLst>
                  <a:gd name="connsiteX0" fmla="*/ 23206 w 23205"/>
                  <a:gd name="connsiteY0" fmla="*/ 0 h 125015"/>
                  <a:gd name="connsiteX1" fmla="*/ 23206 w 23205"/>
                  <a:gd name="connsiteY1" fmla="*/ 125016 h 125015"/>
                  <a:gd name="connsiteX2" fmla="*/ 0 w 23205"/>
                  <a:gd name="connsiteY2" fmla="*/ 125016 h 125015"/>
                  <a:gd name="connsiteX3" fmla="*/ 0 w 23205"/>
                  <a:gd name="connsiteY3" fmla="*/ 0 h 125015"/>
                  <a:gd name="connsiteX4" fmla="*/ 23206 w 23205"/>
                  <a:gd name="connsiteY4" fmla="*/ 0 h 125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5" h="125015">
                    <a:moveTo>
                      <a:pt x="23206" y="0"/>
                    </a:moveTo>
                    <a:lnTo>
                      <a:pt x="23206" y="125016"/>
                    </a:lnTo>
                    <a:lnTo>
                      <a:pt x="0" y="125016"/>
                    </a:lnTo>
                    <a:lnTo>
                      <a:pt x="0" y="0"/>
                    </a:lnTo>
                    <a:lnTo>
                      <a:pt x="23206"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10" name="Freeform 109">
                <a:extLst>
                  <a:ext uri="{FF2B5EF4-FFF2-40B4-BE49-F238E27FC236}">
                    <a16:creationId xmlns:a16="http://schemas.microsoft.com/office/drawing/2014/main" id="{6876D542-2D2E-B240-9FBF-87548FF70EDD}"/>
                  </a:ext>
                </a:extLst>
              </p:cNvPr>
              <p:cNvSpPr/>
              <p:nvPr/>
            </p:nvSpPr>
            <p:spPr>
              <a:xfrm>
                <a:off x="2872170" y="2160091"/>
                <a:ext cx="99071" cy="125015"/>
              </a:xfrm>
              <a:custGeom>
                <a:avLst/>
                <a:gdLst>
                  <a:gd name="connsiteX0" fmla="*/ 0 w 99071"/>
                  <a:gd name="connsiteY0" fmla="*/ 125016 h 125015"/>
                  <a:gd name="connsiteX1" fmla="*/ 0 w 99071"/>
                  <a:gd name="connsiteY1" fmla="*/ 0 h 125015"/>
                  <a:gd name="connsiteX2" fmla="*/ 25884 w 99071"/>
                  <a:gd name="connsiteY2" fmla="*/ 0 h 125015"/>
                  <a:gd name="connsiteX3" fmla="*/ 58015 w 99071"/>
                  <a:gd name="connsiteY3" fmla="*/ 53578 h 125015"/>
                  <a:gd name="connsiteX4" fmla="*/ 79436 w 99071"/>
                  <a:gd name="connsiteY4" fmla="*/ 95548 h 125015"/>
                  <a:gd name="connsiteX5" fmla="*/ 79436 w 99071"/>
                  <a:gd name="connsiteY5" fmla="*/ 95548 h 125015"/>
                  <a:gd name="connsiteX6" fmla="*/ 77650 w 99071"/>
                  <a:gd name="connsiteY6" fmla="*/ 43756 h 125015"/>
                  <a:gd name="connsiteX7" fmla="*/ 77650 w 99071"/>
                  <a:gd name="connsiteY7" fmla="*/ 0 h 125015"/>
                  <a:gd name="connsiteX8" fmla="*/ 99071 w 99071"/>
                  <a:gd name="connsiteY8" fmla="*/ 0 h 125015"/>
                  <a:gd name="connsiteX9" fmla="*/ 99071 w 99071"/>
                  <a:gd name="connsiteY9" fmla="*/ 125016 h 125015"/>
                  <a:gd name="connsiteX10" fmla="*/ 75865 w 99071"/>
                  <a:gd name="connsiteY10" fmla="*/ 125016 h 125015"/>
                  <a:gd name="connsiteX11" fmla="*/ 42842 w 99071"/>
                  <a:gd name="connsiteY11" fmla="*/ 69652 h 125015"/>
                  <a:gd name="connsiteX12" fmla="*/ 20528 w 99071"/>
                  <a:gd name="connsiteY12" fmla="*/ 26789 h 125015"/>
                  <a:gd name="connsiteX13" fmla="*/ 19636 w 99071"/>
                  <a:gd name="connsiteY13" fmla="*/ 26789 h 125015"/>
                  <a:gd name="connsiteX14" fmla="*/ 20528 w 99071"/>
                  <a:gd name="connsiteY14" fmla="*/ 80367 h 125015"/>
                  <a:gd name="connsiteX15" fmla="*/ 20528 w 99071"/>
                  <a:gd name="connsiteY15" fmla="*/ 125016 h 125015"/>
                  <a:gd name="connsiteX16" fmla="*/ 0 w 99071"/>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1" h="125015">
                    <a:moveTo>
                      <a:pt x="0" y="125016"/>
                    </a:moveTo>
                    <a:lnTo>
                      <a:pt x="0" y="0"/>
                    </a:lnTo>
                    <a:lnTo>
                      <a:pt x="25884" y="0"/>
                    </a:lnTo>
                    <a:lnTo>
                      <a:pt x="58015" y="53578"/>
                    </a:lnTo>
                    <a:cubicBezTo>
                      <a:pt x="66048" y="67866"/>
                      <a:pt x="73188" y="82153"/>
                      <a:pt x="79436" y="95548"/>
                    </a:cubicBezTo>
                    <a:lnTo>
                      <a:pt x="79436" y="95548"/>
                    </a:lnTo>
                    <a:cubicBezTo>
                      <a:pt x="77650" y="78581"/>
                      <a:pt x="77650" y="62508"/>
                      <a:pt x="77650" y="43756"/>
                    </a:cubicBezTo>
                    <a:lnTo>
                      <a:pt x="77650" y="0"/>
                    </a:lnTo>
                    <a:lnTo>
                      <a:pt x="99071" y="0"/>
                    </a:lnTo>
                    <a:lnTo>
                      <a:pt x="99071" y="125016"/>
                    </a:lnTo>
                    <a:lnTo>
                      <a:pt x="75865" y="125016"/>
                    </a:lnTo>
                    <a:lnTo>
                      <a:pt x="42842"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111" name="Freeform 110">
                <a:extLst>
                  <a:ext uri="{FF2B5EF4-FFF2-40B4-BE49-F238E27FC236}">
                    <a16:creationId xmlns:a16="http://schemas.microsoft.com/office/drawing/2014/main" id="{F6190C5A-A2E8-7049-8DFF-59A33061FCAF}"/>
                  </a:ext>
                </a:extLst>
              </p:cNvPr>
              <p:cNvSpPr/>
              <p:nvPr/>
            </p:nvSpPr>
            <p:spPr>
              <a:xfrm>
                <a:off x="2988200" y="2158305"/>
                <a:ext cx="107103" cy="128587"/>
              </a:xfrm>
              <a:custGeom>
                <a:avLst/>
                <a:gdLst>
                  <a:gd name="connsiteX0" fmla="*/ 107104 w 107103"/>
                  <a:gd name="connsiteY0" fmla="*/ 121444 h 128587"/>
                  <a:gd name="connsiteX1" fmla="*/ 66940 w 107103"/>
                  <a:gd name="connsiteY1" fmla="*/ 128588 h 128587"/>
                  <a:gd name="connsiteX2" fmla="*/ 17851 w 107103"/>
                  <a:gd name="connsiteY2" fmla="*/ 111621 h 128587"/>
                  <a:gd name="connsiteX3" fmla="*/ 0 w 107103"/>
                  <a:gd name="connsiteY3" fmla="*/ 65187 h 128587"/>
                  <a:gd name="connsiteX4" fmla="*/ 69618 w 107103"/>
                  <a:gd name="connsiteY4" fmla="*/ 0 h 128587"/>
                  <a:gd name="connsiteX5" fmla="*/ 102641 w 107103"/>
                  <a:gd name="connsiteY5" fmla="*/ 6251 h 128587"/>
                  <a:gd name="connsiteX6" fmla="*/ 97286 w 107103"/>
                  <a:gd name="connsiteY6" fmla="*/ 25003 h 128587"/>
                  <a:gd name="connsiteX7" fmla="*/ 68725 w 107103"/>
                  <a:gd name="connsiteY7" fmla="*/ 19645 h 128587"/>
                  <a:gd name="connsiteX8" fmla="*/ 23206 w 107103"/>
                  <a:gd name="connsiteY8" fmla="*/ 64294 h 128587"/>
                  <a:gd name="connsiteX9" fmla="*/ 66940 w 107103"/>
                  <a:gd name="connsiteY9" fmla="*/ 109835 h 128587"/>
                  <a:gd name="connsiteX10" fmla="*/ 83898 w 107103"/>
                  <a:gd name="connsiteY10" fmla="*/ 107156 h 128587"/>
                  <a:gd name="connsiteX11" fmla="*/ 83898 w 107103"/>
                  <a:gd name="connsiteY11" fmla="*/ 75902 h 128587"/>
                  <a:gd name="connsiteX12" fmla="*/ 61585 w 107103"/>
                  <a:gd name="connsiteY12" fmla="*/ 75902 h 128587"/>
                  <a:gd name="connsiteX13" fmla="*/ 61585 w 107103"/>
                  <a:gd name="connsiteY13" fmla="*/ 58043 h 128587"/>
                  <a:gd name="connsiteX14" fmla="*/ 106212 w 107103"/>
                  <a:gd name="connsiteY14" fmla="*/ 58043 h 128587"/>
                  <a:gd name="connsiteX15" fmla="*/ 106212 w 107103"/>
                  <a:gd name="connsiteY15" fmla="*/ 121444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103" h="128587">
                    <a:moveTo>
                      <a:pt x="107104" y="121444"/>
                    </a:moveTo>
                    <a:cubicBezTo>
                      <a:pt x="99071" y="124123"/>
                      <a:pt x="83898" y="128588"/>
                      <a:pt x="66940" y="128588"/>
                    </a:cubicBezTo>
                    <a:cubicBezTo>
                      <a:pt x="45519" y="128588"/>
                      <a:pt x="29454" y="123230"/>
                      <a:pt x="17851" y="111621"/>
                    </a:cubicBezTo>
                    <a:cubicBezTo>
                      <a:pt x="7140" y="100905"/>
                      <a:pt x="0" y="84832"/>
                      <a:pt x="0" y="65187"/>
                    </a:cubicBezTo>
                    <a:cubicBezTo>
                      <a:pt x="0" y="25896"/>
                      <a:pt x="28561" y="0"/>
                      <a:pt x="69618" y="0"/>
                    </a:cubicBezTo>
                    <a:cubicBezTo>
                      <a:pt x="84791" y="0"/>
                      <a:pt x="97286" y="3572"/>
                      <a:pt x="102641" y="6251"/>
                    </a:cubicBezTo>
                    <a:lnTo>
                      <a:pt x="97286" y="25003"/>
                    </a:lnTo>
                    <a:cubicBezTo>
                      <a:pt x="90146" y="22324"/>
                      <a:pt x="82113" y="19645"/>
                      <a:pt x="68725" y="19645"/>
                    </a:cubicBezTo>
                    <a:cubicBezTo>
                      <a:pt x="41949" y="19645"/>
                      <a:pt x="23206" y="35719"/>
                      <a:pt x="23206" y="64294"/>
                    </a:cubicBezTo>
                    <a:cubicBezTo>
                      <a:pt x="23206" y="92869"/>
                      <a:pt x="41057" y="109835"/>
                      <a:pt x="66940" y="109835"/>
                    </a:cubicBezTo>
                    <a:cubicBezTo>
                      <a:pt x="74973" y="109835"/>
                      <a:pt x="81221" y="108942"/>
                      <a:pt x="83898" y="107156"/>
                    </a:cubicBezTo>
                    <a:lnTo>
                      <a:pt x="83898" y="75902"/>
                    </a:lnTo>
                    <a:lnTo>
                      <a:pt x="61585" y="75902"/>
                    </a:lnTo>
                    <a:lnTo>
                      <a:pt x="61585" y="58043"/>
                    </a:lnTo>
                    <a:lnTo>
                      <a:pt x="106212" y="58043"/>
                    </a:lnTo>
                    <a:lnTo>
                      <a:pt x="106212" y="121444"/>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sp>
          <p:nvSpPr>
            <p:cNvPr id="85" name="Freeform 84">
              <a:extLst>
                <a:ext uri="{FF2B5EF4-FFF2-40B4-BE49-F238E27FC236}">
                  <a16:creationId xmlns:a16="http://schemas.microsoft.com/office/drawing/2014/main" id="{5F8B5645-A448-0148-A19D-3ED8C2A2483D}"/>
                </a:ext>
              </a:extLst>
            </p:cNvPr>
            <p:cNvSpPr/>
            <p:nvPr/>
          </p:nvSpPr>
          <p:spPr>
            <a:xfrm>
              <a:off x="1357125" y="6149941"/>
              <a:ext cx="7475" cy="205669"/>
            </a:xfrm>
            <a:custGeom>
              <a:avLst/>
              <a:gdLst>
                <a:gd name="connsiteX0" fmla="*/ 0 w 7140"/>
                <a:gd name="connsiteY0" fmla="*/ 0 h 196453"/>
                <a:gd name="connsiteX1" fmla="*/ 7140 w 7140"/>
                <a:gd name="connsiteY1" fmla="*/ 0 h 196453"/>
                <a:gd name="connsiteX2" fmla="*/ 7140 w 7140"/>
                <a:gd name="connsiteY2" fmla="*/ 196453 h 196453"/>
                <a:gd name="connsiteX3" fmla="*/ 0 w 7140"/>
                <a:gd name="connsiteY3" fmla="*/ 196453 h 196453"/>
              </a:gdLst>
              <a:ahLst/>
              <a:cxnLst>
                <a:cxn ang="0">
                  <a:pos x="connsiteX0" y="connsiteY0"/>
                </a:cxn>
                <a:cxn ang="0">
                  <a:pos x="connsiteX1" y="connsiteY1"/>
                </a:cxn>
                <a:cxn ang="0">
                  <a:pos x="connsiteX2" y="connsiteY2"/>
                </a:cxn>
                <a:cxn ang="0">
                  <a:pos x="connsiteX3" y="connsiteY3"/>
                </a:cxn>
              </a:cxnLst>
              <a:rect l="l" t="t" r="r" b="b"/>
              <a:pathLst>
                <a:path w="7140" h="196453">
                  <a:moveTo>
                    <a:pt x="0" y="0"/>
                  </a:moveTo>
                  <a:lnTo>
                    <a:pt x="7140" y="0"/>
                  </a:lnTo>
                  <a:lnTo>
                    <a:pt x="7140" y="196453"/>
                  </a:lnTo>
                  <a:lnTo>
                    <a:pt x="0" y="196453"/>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sp>
        <p:nvSpPr>
          <p:cNvPr id="2" name="Rectangle 1">
            <a:extLst>
              <a:ext uri="{FF2B5EF4-FFF2-40B4-BE49-F238E27FC236}">
                <a16:creationId xmlns:a16="http://schemas.microsoft.com/office/drawing/2014/main" id="{3458CB56-A478-1B46-9E7C-FDA964756720}"/>
              </a:ext>
            </a:extLst>
          </p:cNvPr>
          <p:cNvSpPr/>
          <p:nvPr userDrawn="1"/>
        </p:nvSpPr>
        <p:spPr>
          <a:xfrm>
            <a:off x="542400" y="434214"/>
            <a:ext cx="1716688" cy="225767"/>
          </a:xfrm>
          <a:prstGeom prst="rect">
            <a:avLst/>
          </a:prstGeom>
        </p:spPr>
        <p:txBody>
          <a:bodyPr wrap="none" lIns="0" tIns="0" rIns="0" bIns="0">
            <a:spAutoFit/>
          </a:bodyPr>
          <a:lstStyle/>
          <a:p>
            <a:pPr lvl="0"/>
            <a:r>
              <a:rPr lang="en-GB" sz="1467" b="0" i="0" dirty="0">
                <a:solidFill>
                  <a:srgbClr val="F15A28"/>
                </a:solidFill>
                <a:latin typeface="Arial" panose="020B0604020202020204" pitchFamily="34" charset="0"/>
                <a:ea typeface="Aktiv Grotesk Light" panose="020B0404020202020204" pitchFamily="34" charset="0"/>
                <a:cs typeface="Arial" panose="020B0604020202020204" pitchFamily="34" charset="0"/>
              </a:rPr>
              <a:t>DIGITAL PRACTICE</a:t>
            </a:r>
          </a:p>
        </p:txBody>
      </p:sp>
    </p:spTree>
    <p:extLst>
      <p:ext uri="{BB962C8B-B14F-4D97-AF65-F5344CB8AC3E}">
        <p14:creationId xmlns:p14="http://schemas.microsoft.com/office/powerpoint/2010/main" val="822627583"/>
      </p:ext>
    </p:extLst>
  </p:cSld>
  <p:clrMapOvr>
    <a:masterClrMapping/>
  </p:clrMapOvr>
  <p:extLst>
    <p:ext uri="{DCECCB84-F9BA-43D5-87BE-67443E8EF086}">
      <p15:sldGuideLst xmlns:p15="http://schemas.microsoft.com/office/powerpoint/2012/main">
        <p15:guide id="1" orient="horz" pos="2160">
          <p15:clr>
            <a:srgbClr val="FBAE40"/>
          </p15:clr>
        </p15:guide>
        <p15:guide id="2" pos="3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igital-DarkMode-Title Only">
    <p:spTree>
      <p:nvGrpSpPr>
        <p:cNvPr id="1" name=""/>
        <p:cNvGrpSpPr/>
        <p:nvPr/>
      </p:nvGrpSpPr>
      <p:grpSpPr>
        <a:xfrm>
          <a:off x="0" y="0"/>
          <a:ext cx="0" cy="0"/>
          <a:chOff x="0" y="0"/>
          <a:chExt cx="0" cy="0"/>
        </a:xfrm>
      </p:grpSpPr>
      <p:sp>
        <p:nvSpPr>
          <p:cNvPr id="12" name="Shape 40"/>
          <p:cNvSpPr>
            <a:spLocks noGrp="1"/>
          </p:cNvSpPr>
          <p:nvPr>
            <p:ph type="title" hasCustomPrompt="1"/>
          </p:nvPr>
        </p:nvSpPr>
        <p:spPr>
          <a:xfrm>
            <a:off x="480000" y="200353"/>
            <a:ext cx="6972360" cy="381392"/>
          </a:xfrm>
          <a:prstGeom prst="rect">
            <a:avLst/>
          </a:prstGeom>
        </p:spPr>
        <p:txBody>
          <a:bodyPr lIns="0" anchor="t">
            <a:noAutofit/>
          </a:bodyPr>
          <a:lstStyle>
            <a:lvl1pPr>
              <a:defRPr sz="2667" b="0">
                <a:solidFill>
                  <a:srgbClr val="F15A28"/>
                </a:solidFill>
                <a:latin typeface="Arial" charset="0"/>
                <a:ea typeface="Arial" charset="0"/>
                <a:cs typeface="Arial" charset="0"/>
              </a:defRPr>
            </a:lvl1pPr>
          </a:lstStyle>
          <a:p>
            <a:r>
              <a:rPr lang="en-US" dirty="0"/>
              <a:t>Title text</a:t>
            </a:r>
          </a:p>
        </p:txBody>
      </p:sp>
    </p:spTree>
    <p:extLst>
      <p:ext uri="{BB962C8B-B14F-4D97-AF65-F5344CB8AC3E}">
        <p14:creationId xmlns:p14="http://schemas.microsoft.com/office/powerpoint/2010/main" val="37837178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A50F07-5FB0-4CB6-BB83-DB0E4C79CBF7}"/>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5DA50F07-5FB0-4CB6-BB83-DB0E4C79CBF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A66B33-BD46-4288-97BA-6649B41D4839}"/>
              </a:ext>
            </a:extLst>
          </p:cNvPr>
          <p:cNvSpPr/>
          <p:nvPr userDrawn="1">
            <p:custDataLst>
              <p:tags r:id="rId3"/>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a:xfrm>
            <a:off x="381001" y="381002"/>
            <a:ext cx="5334000" cy="2670175"/>
          </a:xfrm>
        </p:spPr>
        <p:txBody>
          <a:bodyPr>
            <a:noAutofit/>
          </a:bodyPr>
          <a:lstStyle>
            <a:lvl1pPr marL="0" marR="0" indent="0" algn="l" defTabSz="914377" rtl="0" eaLnBrk="1" fontAlgn="auto" latinLnBrk="0" hangingPunct="1">
              <a:lnSpc>
                <a:spcPct val="90000"/>
              </a:lnSpc>
              <a:spcBef>
                <a:spcPts val="0"/>
              </a:spcBef>
              <a:spcAft>
                <a:spcPts val="600"/>
              </a:spcAft>
              <a:buClrTx/>
              <a:buSzTx/>
              <a:buFontTx/>
              <a:buNone/>
              <a:tabLst/>
              <a:defRPr lang="en-GB" sz="3800" b="1" baseline="0" smtClean="0">
                <a:solidFill>
                  <a:schemeClr val="bg1"/>
                </a:solidFill>
                <a:effectLst/>
                <a:latin typeface="Open Sans" panose="020B0606030504020204" pitchFamily="34" charset="0"/>
                <a:ea typeface="Open Sans" panose="020B0606030504020204" pitchFamily="34" charset="0"/>
                <a:cs typeface="Open Sans" panose="020B0606030504020204" pitchFamily="34" charset="0"/>
              </a:defRPr>
            </a:lvl1pPr>
          </a:lstStyle>
          <a:p>
            <a:r>
              <a:rPr lang="en-US" b="1" dirty="0">
                <a:effectLst/>
                <a:latin typeface="Arial" panose="020B0604020202020204" pitchFamily="34" charset="0"/>
              </a:rPr>
              <a:t>Add an optional sub-chapter that supports the narrative</a:t>
            </a:r>
            <a:endParaRPr lang="en-US" dirty="0">
              <a:effectLst/>
              <a:latin typeface="Arial" panose="020B0604020202020204" pitchFamily="34" charset="0"/>
            </a:endParaRPr>
          </a:p>
        </p:txBody>
      </p:sp>
    </p:spTree>
    <p:extLst>
      <p:ext uri="{BB962C8B-B14F-4D97-AF65-F5344CB8AC3E}">
        <p14:creationId xmlns:p14="http://schemas.microsoft.com/office/powerpoint/2010/main" val="69282667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BB65B9-0899-4E9A-97D7-8C49FE06BC86}"/>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45BB65B9-0899-4E9A-97D7-8C49FE06BC86}"/>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59934B8-BF6C-41E9-BD59-2A2EF5D7D670}"/>
              </a:ext>
            </a:extLst>
          </p:cNvPr>
          <p:cNvSpPr/>
          <p:nvPr userDrawn="1">
            <p:custDataLst>
              <p:tags r:id="rId3"/>
            </p:custDataLst>
          </p:nvPr>
        </p:nvSpPr>
        <p:spPr>
          <a:xfrm>
            <a:off x="1" y="1"/>
            <a:ext cx="158751" cy="1587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a:xfrm>
            <a:off x="381000" y="381002"/>
            <a:ext cx="2286000" cy="2215991"/>
          </a:xfrm>
        </p:spPr>
        <p:txBody>
          <a:bodyPr lIns="0" tIns="0" rIns="0" bIns="0"/>
          <a:lstStyle>
            <a:lvl1pPr>
              <a:defRPr sz="2000" b="1">
                <a:solidFill>
                  <a:schemeClr val="bg1"/>
                </a:solidFill>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420493283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Dark">
    <p:spTree>
      <p:nvGrpSpPr>
        <p:cNvPr id="1" name=""/>
        <p:cNvGrpSpPr/>
        <p:nvPr/>
      </p:nvGrpSpPr>
      <p:grpSpPr>
        <a:xfrm>
          <a:off x="0" y="0"/>
          <a:ext cx="0" cy="0"/>
          <a:chOff x="0" y="0"/>
          <a:chExt cx="0" cy="0"/>
        </a:xfrm>
      </p:grpSpPr>
      <p:sp>
        <p:nvSpPr>
          <p:cNvPr id="10" name="Shape 40">
            <a:extLst>
              <a:ext uri="{FF2B5EF4-FFF2-40B4-BE49-F238E27FC236}">
                <a16:creationId xmlns:a16="http://schemas.microsoft.com/office/drawing/2014/main" id="{EED75762-63F9-9A43-B2C6-55703F88F8D4}"/>
              </a:ext>
            </a:extLst>
          </p:cNvPr>
          <p:cNvSpPr>
            <a:spLocks noGrp="1"/>
          </p:cNvSpPr>
          <p:nvPr>
            <p:ph type="title" hasCustomPrompt="1"/>
          </p:nvPr>
        </p:nvSpPr>
        <p:spPr>
          <a:xfrm>
            <a:off x="360000" y="360000"/>
            <a:ext cx="11543008" cy="406800"/>
          </a:xfrm>
          <a:prstGeom prst="rect">
            <a:avLst/>
          </a:prstGeom>
        </p:spPr>
        <p:txBody>
          <a:bodyPr lIns="0" tIns="0" rIns="0" bIns="0" anchor="t">
            <a:noAutofit/>
          </a:bodyPr>
          <a:lstStyle>
            <a:lvl1pPr>
              <a:lnSpc>
                <a:spcPct val="100000"/>
              </a:lnSpc>
              <a:spcBef>
                <a:spcPts val="0"/>
              </a:spcBef>
              <a:defRPr sz="2400" b="0">
                <a:solidFill>
                  <a:schemeClr val="accent2"/>
                </a:solidFill>
                <a:latin typeface="Arial" charset="0"/>
                <a:ea typeface="Arial" charset="0"/>
                <a:cs typeface="Arial" charset="0"/>
              </a:defRPr>
            </a:lvl1pPr>
          </a:lstStyle>
          <a:p>
            <a:r>
              <a:rPr lang="en-US"/>
              <a:t>Title text</a:t>
            </a:r>
          </a:p>
        </p:txBody>
      </p:sp>
    </p:spTree>
    <p:extLst>
      <p:ext uri="{BB962C8B-B14F-4D97-AF65-F5344CB8AC3E}">
        <p14:creationId xmlns:p14="http://schemas.microsoft.com/office/powerpoint/2010/main" val="1272446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Digital-DarkMode-Agend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B68E3D8-8637-454F-B115-5B77E5B5B76D}"/>
              </a:ext>
            </a:extLst>
          </p:cNvPr>
          <p:cNvSpPr/>
          <p:nvPr userDrawn="1"/>
        </p:nvSpPr>
        <p:spPr>
          <a:xfrm>
            <a:off x="350044" y="1094153"/>
            <a:ext cx="11488253" cy="5114917"/>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1" b="0" i="0" dirty="0">
              <a:latin typeface="Arial" charset="0"/>
            </a:endParaRPr>
          </a:p>
        </p:txBody>
      </p:sp>
      <p:sp>
        <p:nvSpPr>
          <p:cNvPr id="3" name="Text Placeholder 2"/>
          <p:cNvSpPr>
            <a:spLocks noGrp="1"/>
          </p:cNvSpPr>
          <p:nvPr>
            <p:ph type="body" sz="quarter" idx="11"/>
          </p:nvPr>
        </p:nvSpPr>
        <p:spPr>
          <a:xfrm>
            <a:off x="480000" y="1411382"/>
            <a:ext cx="6956697" cy="3665537"/>
          </a:xfrm>
          <a:prstGeom prst="rect">
            <a:avLst/>
          </a:prstGeom>
        </p:spPr>
        <p:txBody>
          <a:bodyPr lIns="0" tIns="0" rIns="0" bIns="0"/>
          <a:lstStyle>
            <a:lvl1pPr marL="457133" indent="-457133">
              <a:lnSpc>
                <a:spcPct val="200000"/>
              </a:lnSpc>
              <a:spcBef>
                <a:spcPts val="0"/>
              </a:spcBef>
              <a:buFont typeface=".PingFang SC Regular"/>
              <a:buChar char="－"/>
              <a:tabLst/>
              <a:defRPr sz="2200">
                <a:solidFill>
                  <a:schemeClr val="bg1"/>
                </a:solidFill>
                <a:latin typeface="Arial" charset="0"/>
                <a:ea typeface="Arial" charset="0"/>
                <a:cs typeface="Arial" charset="0"/>
              </a:defRPr>
            </a:lvl1pPr>
          </a:lstStyle>
          <a:p>
            <a:pPr lvl="0"/>
            <a:r>
              <a:rPr lang="en-US" dirty="0"/>
              <a:t>Click to edit Master text styles</a:t>
            </a:r>
          </a:p>
        </p:txBody>
      </p:sp>
      <p:sp>
        <p:nvSpPr>
          <p:cNvPr id="11" name="Shape 40"/>
          <p:cNvSpPr>
            <a:spLocks noGrp="1"/>
          </p:cNvSpPr>
          <p:nvPr>
            <p:ph type="title" hasCustomPrompt="1"/>
          </p:nvPr>
        </p:nvSpPr>
        <p:spPr>
          <a:xfrm>
            <a:off x="480000" y="200353"/>
            <a:ext cx="6957120" cy="381392"/>
          </a:xfrm>
          <a:prstGeom prst="rect">
            <a:avLst/>
          </a:prstGeom>
        </p:spPr>
        <p:txBody>
          <a:bodyPr lIns="0" anchor="t">
            <a:noAutofit/>
          </a:bodyPr>
          <a:lstStyle>
            <a:lvl1pPr>
              <a:defRPr sz="2667" b="0">
                <a:solidFill>
                  <a:srgbClr val="F15A28"/>
                </a:solidFill>
                <a:latin typeface="Arial" charset="0"/>
                <a:ea typeface="Arial" charset="0"/>
                <a:cs typeface="Arial" charset="0"/>
              </a:defRPr>
            </a:lvl1pPr>
          </a:lstStyle>
          <a:p>
            <a:r>
              <a:rPr lang="en-US" dirty="0"/>
              <a:t>Title text</a:t>
            </a:r>
          </a:p>
        </p:txBody>
      </p:sp>
      <p:sp>
        <p:nvSpPr>
          <p:cNvPr id="12" name="Text Placeholder 13"/>
          <p:cNvSpPr>
            <a:spLocks noGrp="1"/>
          </p:cNvSpPr>
          <p:nvPr>
            <p:ph type="body" sz="quarter" idx="10"/>
          </p:nvPr>
        </p:nvSpPr>
        <p:spPr>
          <a:xfrm>
            <a:off x="480001" y="612225"/>
            <a:ext cx="6956696" cy="357699"/>
          </a:xfrm>
          <a:prstGeom prst="rect">
            <a:avLst/>
          </a:prstGeom>
        </p:spPr>
        <p:txBody>
          <a:bodyPr lIns="0">
            <a:noAutofit/>
          </a:bodyPr>
          <a:lstStyle>
            <a:lvl1pPr marL="0" indent="0">
              <a:buNone/>
              <a:defRPr sz="1600">
                <a:solidFill>
                  <a:schemeClr val="bg1"/>
                </a:solidFill>
                <a:latin typeface="Arial" charset="0"/>
                <a:ea typeface="Arial" charset="0"/>
                <a:cs typeface="Arial" charset="0"/>
              </a:defRPr>
            </a:lvl1pPr>
          </a:lstStyle>
          <a:p>
            <a:pPr lvl="0"/>
            <a:r>
              <a:rPr lang="en-US" dirty="0"/>
              <a:t>Click to edit Master text styles</a:t>
            </a:r>
          </a:p>
        </p:txBody>
      </p:sp>
    </p:spTree>
    <p:extLst>
      <p:ext uri="{BB962C8B-B14F-4D97-AF65-F5344CB8AC3E}">
        <p14:creationId xmlns:p14="http://schemas.microsoft.com/office/powerpoint/2010/main" val="41641001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CD-Dark-Subtitle/Title">
    <p:spTree>
      <p:nvGrpSpPr>
        <p:cNvPr id="1" name=""/>
        <p:cNvGrpSpPr/>
        <p:nvPr/>
      </p:nvGrpSpPr>
      <p:grpSpPr>
        <a:xfrm>
          <a:off x="0" y="0"/>
          <a:ext cx="0" cy="0"/>
          <a:chOff x="0" y="0"/>
          <a:chExt cx="0" cy="0"/>
        </a:xfrm>
      </p:grpSpPr>
      <p:sp>
        <p:nvSpPr>
          <p:cNvPr id="12" name="Shape 40"/>
          <p:cNvSpPr>
            <a:spLocks noGrp="1"/>
          </p:cNvSpPr>
          <p:nvPr>
            <p:ph type="title" hasCustomPrompt="1"/>
          </p:nvPr>
        </p:nvSpPr>
        <p:spPr>
          <a:xfrm>
            <a:off x="480002" y="544285"/>
            <a:ext cx="6972359" cy="903515"/>
          </a:xfrm>
          <a:prstGeom prst="rect">
            <a:avLst/>
          </a:prstGeom>
        </p:spPr>
        <p:txBody>
          <a:bodyPr lIns="0" anchor="t">
            <a:noAutofit/>
          </a:bodyPr>
          <a:lstStyle>
            <a:lvl1pPr>
              <a:defRPr sz="3733" b="0">
                <a:solidFill>
                  <a:srgbClr val="F15A28"/>
                </a:solidFill>
                <a:latin typeface="Arial" charset="0"/>
                <a:ea typeface="Arial" charset="0"/>
                <a:cs typeface="Arial" charset="0"/>
              </a:defRPr>
            </a:lvl1pPr>
          </a:lstStyle>
          <a:p>
            <a:r>
              <a:rPr lang="en-US" dirty="0"/>
              <a:t>Title text</a:t>
            </a:r>
          </a:p>
        </p:txBody>
      </p:sp>
      <p:sp>
        <p:nvSpPr>
          <p:cNvPr id="10" name="Text Placeholder 13">
            <a:extLst>
              <a:ext uri="{FF2B5EF4-FFF2-40B4-BE49-F238E27FC236}">
                <a16:creationId xmlns:a16="http://schemas.microsoft.com/office/drawing/2014/main" id="{4A0EACDF-B057-0D4C-B308-A2F7CCD510B0}"/>
              </a:ext>
            </a:extLst>
          </p:cNvPr>
          <p:cNvSpPr>
            <a:spLocks noGrp="1"/>
          </p:cNvSpPr>
          <p:nvPr>
            <p:ph type="body" sz="quarter" idx="11" hasCustomPrompt="1"/>
          </p:nvPr>
        </p:nvSpPr>
        <p:spPr>
          <a:xfrm>
            <a:off x="479999" y="261031"/>
            <a:ext cx="6972359" cy="283255"/>
          </a:xfrm>
          <a:prstGeom prst="rect">
            <a:avLst/>
          </a:prstGeom>
        </p:spPr>
        <p:txBody>
          <a:bodyPr lIns="0"/>
          <a:lstStyle>
            <a:lvl1pPr marL="0" indent="0">
              <a:buNone/>
              <a:defRPr sz="933" spc="400">
                <a:solidFill>
                  <a:schemeClr val="bg1"/>
                </a:solidFill>
                <a:latin typeface="Arial" charset="0"/>
                <a:ea typeface="Arial" charset="0"/>
                <a:cs typeface="Arial" charset="0"/>
              </a:defRPr>
            </a:lvl1pPr>
          </a:lstStyle>
          <a:p>
            <a:pPr lvl="0"/>
            <a:r>
              <a:rPr lang="en-US" dirty="0"/>
              <a:t>HEADER TEXT</a:t>
            </a:r>
          </a:p>
        </p:txBody>
      </p:sp>
      <p:sp>
        <p:nvSpPr>
          <p:cNvPr id="11" name="Content Placeholder 10">
            <a:extLst>
              <a:ext uri="{FF2B5EF4-FFF2-40B4-BE49-F238E27FC236}">
                <a16:creationId xmlns:a16="http://schemas.microsoft.com/office/drawing/2014/main" id="{042049D4-2421-864A-8B90-B9837BB5A59F}"/>
              </a:ext>
            </a:extLst>
          </p:cNvPr>
          <p:cNvSpPr>
            <a:spLocks noGrp="1"/>
          </p:cNvSpPr>
          <p:nvPr>
            <p:ph sz="quarter" idx="12"/>
          </p:nvPr>
        </p:nvSpPr>
        <p:spPr>
          <a:xfrm>
            <a:off x="480000" y="1588363"/>
            <a:ext cx="6972360" cy="4148060"/>
          </a:xfrm>
          <a:prstGeom prst="rect">
            <a:avLst/>
          </a:prstGeom>
        </p:spPr>
        <p:txBody>
          <a:bodyPr lIns="0"/>
          <a:lstStyle>
            <a:lvl1pPr marL="8466" indent="-8466">
              <a:lnSpc>
                <a:spcPct val="110000"/>
              </a:lnSpc>
              <a:spcBef>
                <a:spcPts val="800"/>
              </a:spcBef>
              <a:buNone/>
              <a:tabLst/>
              <a:defRPr sz="1600"/>
            </a:lvl1pPr>
            <a:lvl2pPr marL="715415" indent="-258227">
              <a:lnSpc>
                <a:spcPct val="110000"/>
              </a:lnSpc>
              <a:spcBef>
                <a:spcPts val="800"/>
              </a:spcBef>
              <a:tabLst/>
              <a:defRPr sz="1400"/>
            </a:lvl2pPr>
            <a:lvl3pPr marL="1128156" indent="-213779">
              <a:lnSpc>
                <a:spcPct val="110000"/>
              </a:lnSpc>
              <a:spcBef>
                <a:spcPts val="800"/>
              </a:spcBef>
              <a:tabLst/>
              <a:defRPr sz="1333"/>
            </a:lvl3pPr>
            <a:lvl4pPr marL="1604393" indent="-232828">
              <a:lnSpc>
                <a:spcPct val="110000"/>
              </a:lnSpc>
              <a:spcBef>
                <a:spcPts val="800"/>
              </a:spcBef>
              <a:tabLst/>
              <a:defRPr sz="1200"/>
            </a:lvl4pPr>
            <a:lvl5pPr marL="2082748" indent="-253994">
              <a:lnSpc>
                <a:spcPct val="110000"/>
              </a:lnSpc>
              <a:spcBef>
                <a:spcPts val="800"/>
              </a:spcBef>
              <a:tabLst/>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684593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gital-DarkMode-Title/Text">
    <p:spTree>
      <p:nvGrpSpPr>
        <p:cNvPr id="1" name=""/>
        <p:cNvGrpSpPr/>
        <p:nvPr/>
      </p:nvGrpSpPr>
      <p:grpSpPr>
        <a:xfrm>
          <a:off x="0" y="0"/>
          <a:ext cx="0" cy="0"/>
          <a:chOff x="0" y="0"/>
          <a:chExt cx="0" cy="0"/>
        </a:xfrm>
      </p:grpSpPr>
      <p:sp>
        <p:nvSpPr>
          <p:cNvPr id="7" name="Shape 40"/>
          <p:cNvSpPr>
            <a:spLocks noGrp="1"/>
          </p:cNvSpPr>
          <p:nvPr>
            <p:ph type="title" hasCustomPrompt="1"/>
          </p:nvPr>
        </p:nvSpPr>
        <p:spPr>
          <a:xfrm>
            <a:off x="480001" y="200353"/>
            <a:ext cx="6972360" cy="381392"/>
          </a:xfrm>
          <a:prstGeom prst="rect">
            <a:avLst/>
          </a:prstGeom>
        </p:spPr>
        <p:txBody>
          <a:bodyPr lIns="0" anchor="t">
            <a:noAutofit/>
          </a:bodyPr>
          <a:lstStyle>
            <a:lvl1pPr>
              <a:defRPr sz="2667" b="0">
                <a:solidFill>
                  <a:srgbClr val="F15A28"/>
                </a:solidFill>
                <a:latin typeface="Arial" charset="0"/>
                <a:ea typeface="Arial" charset="0"/>
                <a:cs typeface="Arial" charset="0"/>
              </a:defRPr>
            </a:lvl1pPr>
          </a:lstStyle>
          <a:p>
            <a:r>
              <a:rPr lang="en-US" dirty="0"/>
              <a:t>Title text</a:t>
            </a:r>
          </a:p>
        </p:txBody>
      </p:sp>
      <p:sp>
        <p:nvSpPr>
          <p:cNvPr id="6" name="Content Placeholder 2"/>
          <p:cNvSpPr>
            <a:spLocks noGrp="1"/>
          </p:cNvSpPr>
          <p:nvPr>
            <p:ph idx="1" hasCustomPrompt="1"/>
          </p:nvPr>
        </p:nvSpPr>
        <p:spPr bwMode="gray">
          <a:xfrm>
            <a:off x="480001" y="1177521"/>
            <a:ext cx="6972360" cy="4842436"/>
          </a:xfrm>
          <a:prstGeom prst="rect">
            <a:avLst/>
          </a:prstGeom>
        </p:spPr>
        <p:txBody>
          <a:bodyPr lIns="0">
            <a:normAutofit/>
          </a:bodyPr>
          <a:lstStyle>
            <a:lvl1pPr>
              <a:lnSpc>
                <a:spcPct val="110000"/>
              </a:lnSpc>
              <a:defRPr sz="1867">
                <a:solidFill>
                  <a:schemeClr val="bg1"/>
                </a:solidFill>
                <a:latin typeface="Arial" charset="0"/>
                <a:ea typeface="Arial" charset="0"/>
                <a:cs typeface="Arial" charset="0"/>
              </a:defRPr>
            </a:lvl1pPr>
            <a:lvl2pPr>
              <a:lnSpc>
                <a:spcPct val="110000"/>
              </a:lnSpc>
              <a:defRPr sz="1600">
                <a:solidFill>
                  <a:schemeClr val="bg1"/>
                </a:solidFill>
                <a:latin typeface="Arial" charset="0"/>
                <a:ea typeface="Arial" charset="0"/>
                <a:cs typeface="Arial" charset="0"/>
              </a:defRPr>
            </a:lvl2pPr>
            <a:lvl3pPr>
              <a:lnSpc>
                <a:spcPct val="110000"/>
              </a:lnSpc>
              <a:defRPr sz="1467">
                <a:solidFill>
                  <a:schemeClr val="bg1"/>
                </a:solidFill>
                <a:latin typeface="Arial" charset="0"/>
                <a:ea typeface="Arial" charset="0"/>
                <a:cs typeface="Arial" charset="0"/>
              </a:defRPr>
            </a:lvl3pPr>
            <a:lvl4pPr>
              <a:lnSpc>
                <a:spcPct val="110000"/>
              </a:lnSpc>
              <a:defRPr sz="1400">
                <a:solidFill>
                  <a:schemeClr val="bg1"/>
                </a:solidFill>
                <a:latin typeface="Arial" charset="0"/>
                <a:ea typeface="Arial" charset="0"/>
                <a:cs typeface="Arial" charset="0"/>
              </a:defRPr>
            </a:lvl4pPr>
            <a:lvl5pPr>
              <a:lnSpc>
                <a:spcPct val="110000"/>
              </a:lnSpc>
              <a:defRPr sz="1200">
                <a:solidFill>
                  <a:schemeClr val="bg1"/>
                </a:solidFill>
                <a:latin typeface="Arial" charset="0"/>
                <a:ea typeface="Arial" charset="0"/>
                <a:cs typeface="Arial" charset="0"/>
              </a:defRPr>
            </a:lvl5pPr>
            <a:lvl6pPr>
              <a:defRPr>
                <a:latin typeface="Arial" charset="0"/>
                <a:ea typeface="Arial" charset="0"/>
                <a:cs typeface="Arial" charset="0"/>
              </a:defRPr>
            </a:lvl6pPr>
            <a:lvl7pPr>
              <a:defRPr>
                <a:latin typeface="Arial" charset="0"/>
                <a:ea typeface="Arial" charset="0"/>
                <a:cs typeface="Arial" charset="0"/>
              </a:defRPr>
            </a:lvl7pPr>
            <a:lvl8pPr>
              <a:defRPr>
                <a:latin typeface="Arial" charset="0"/>
                <a:ea typeface="Arial" charset="0"/>
                <a:cs typeface="Arial" charset="0"/>
              </a:defRPr>
            </a:lvl8pPr>
            <a:lvl9pPr>
              <a:defRPr>
                <a:latin typeface="Arial" charset="0"/>
                <a:ea typeface="Arial" charset="0"/>
                <a:cs typeface="Arial" charset="0"/>
              </a:defRPr>
            </a:lvl9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4117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gital-DarkMode-Title/Subtitle">
    <p:spTree>
      <p:nvGrpSpPr>
        <p:cNvPr id="1" name=""/>
        <p:cNvGrpSpPr/>
        <p:nvPr/>
      </p:nvGrpSpPr>
      <p:grpSpPr>
        <a:xfrm>
          <a:off x="0" y="0"/>
          <a:ext cx="0" cy="0"/>
          <a:chOff x="0" y="0"/>
          <a:chExt cx="0" cy="0"/>
        </a:xfrm>
      </p:grpSpPr>
      <p:sp>
        <p:nvSpPr>
          <p:cNvPr id="7" name="Shape 40"/>
          <p:cNvSpPr>
            <a:spLocks noGrp="1"/>
          </p:cNvSpPr>
          <p:nvPr>
            <p:ph type="title" hasCustomPrompt="1"/>
          </p:nvPr>
        </p:nvSpPr>
        <p:spPr>
          <a:xfrm>
            <a:off x="480001" y="200353"/>
            <a:ext cx="6972359" cy="381392"/>
          </a:xfrm>
          <a:prstGeom prst="rect">
            <a:avLst/>
          </a:prstGeom>
        </p:spPr>
        <p:txBody>
          <a:bodyPr lIns="0" anchor="t">
            <a:noAutofit/>
          </a:bodyPr>
          <a:lstStyle>
            <a:lvl1pPr>
              <a:defRPr sz="2667" b="0">
                <a:solidFill>
                  <a:srgbClr val="F15A28"/>
                </a:solidFill>
                <a:latin typeface="Arial" charset="0"/>
                <a:ea typeface="Arial" charset="0"/>
                <a:cs typeface="Arial" charset="0"/>
              </a:defRPr>
            </a:lvl1pPr>
          </a:lstStyle>
          <a:p>
            <a:r>
              <a:rPr lang="en-US" dirty="0"/>
              <a:t>Title text</a:t>
            </a:r>
          </a:p>
        </p:txBody>
      </p:sp>
      <p:sp>
        <p:nvSpPr>
          <p:cNvPr id="14" name="Text Placeholder 13"/>
          <p:cNvSpPr>
            <a:spLocks noGrp="1"/>
          </p:cNvSpPr>
          <p:nvPr>
            <p:ph type="body" sz="quarter" idx="10"/>
          </p:nvPr>
        </p:nvSpPr>
        <p:spPr>
          <a:xfrm>
            <a:off x="480002" y="619458"/>
            <a:ext cx="6972357" cy="479425"/>
          </a:xfrm>
          <a:prstGeom prst="rect">
            <a:avLst/>
          </a:prstGeom>
        </p:spPr>
        <p:txBody>
          <a:bodyPr lIns="0"/>
          <a:lstStyle>
            <a:lvl1pPr marL="0" indent="0">
              <a:buNone/>
              <a:defRPr sz="1600">
                <a:solidFill>
                  <a:schemeClr val="bg1"/>
                </a:solidFill>
                <a:latin typeface="Arial" charset="0"/>
                <a:ea typeface="Arial" charset="0"/>
                <a:cs typeface="Arial" charset="0"/>
              </a:defRPr>
            </a:lvl1pPr>
          </a:lstStyle>
          <a:p>
            <a:pPr lvl="0"/>
            <a:r>
              <a:rPr lang="en-US" dirty="0"/>
              <a:t>Click to edit Master text styles</a:t>
            </a:r>
          </a:p>
        </p:txBody>
      </p:sp>
      <p:sp>
        <p:nvSpPr>
          <p:cNvPr id="6" name="Content Placeholder 2"/>
          <p:cNvSpPr>
            <a:spLocks noGrp="1"/>
          </p:cNvSpPr>
          <p:nvPr>
            <p:ph idx="1" hasCustomPrompt="1"/>
          </p:nvPr>
        </p:nvSpPr>
        <p:spPr bwMode="gray">
          <a:xfrm>
            <a:off x="480002" y="1177521"/>
            <a:ext cx="6972359" cy="4842436"/>
          </a:xfrm>
          <a:prstGeom prst="rect">
            <a:avLst/>
          </a:prstGeom>
        </p:spPr>
        <p:txBody>
          <a:bodyPr lIns="0">
            <a:normAutofit/>
          </a:bodyPr>
          <a:lstStyle>
            <a:lvl1pPr>
              <a:defRPr sz="1867">
                <a:solidFill>
                  <a:schemeClr val="bg1"/>
                </a:solidFill>
                <a:latin typeface="Arial" charset="0"/>
                <a:ea typeface="Arial" charset="0"/>
                <a:cs typeface="Arial" charset="0"/>
              </a:defRPr>
            </a:lvl1pPr>
            <a:lvl2pPr>
              <a:defRPr sz="1600">
                <a:solidFill>
                  <a:schemeClr val="bg1"/>
                </a:solidFill>
                <a:latin typeface="Arial" charset="0"/>
                <a:ea typeface="Arial" charset="0"/>
                <a:cs typeface="Arial" charset="0"/>
              </a:defRPr>
            </a:lvl2pPr>
            <a:lvl3pPr>
              <a:defRPr sz="1467">
                <a:solidFill>
                  <a:schemeClr val="bg1"/>
                </a:solidFill>
                <a:latin typeface="Arial" charset="0"/>
                <a:ea typeface="Arial" charset="0"/>
                <a:cs typeface="Arial" charset="0"/>
              </a:defRPr>
            </a:lvl3pPr>
            <a:lvl4pPr>
              <a:defRPr sz="1400">
                <a:solidFill>
                  <a:schemeClr val="bg1"/>
                </a:solidFill>
                <a:latin typeface="Arial" charset="0"/>
                <a:ea typeface="Arial" charset="0"/>
                <a:cs typeface="Arial" charset="0"/>
              </a:defRPr>
            </a:lvl4pPr>
            <a:lvl5pPr>
              <a:defRPr sz="1200">
                <a:solidFill>
                  <a:schemeClr val="bg1"/>
                </a:solidFill>
                <a:latin typeface="Arial" charset="0"/>
                <a:ea typeface="Arial" charset="0"/>
                <a:cs typeface="Arial" charset="0"/>
              </a:defRPr>
            </a:lvl5pPr>
            <a:lvl6pPr>
              <a:defRPr>
                <a:latin typeface="Arial" charset="0"/>
                <a:ea typeface="Arial" charset="0"/>
                <a:cs typeface="Arial" charset="0"/>
              </a:defRPr>
            </a:lvl6pPr>
            <a:lvl7pPr>
              <a:defRPr>
                <a:latin typeface="Arial" charset="0"/>
                <a:ea typeface="Arial" charset="0"/>
                <a:cs typeface="Arial" charset="0"/>
              </a:defRPr>
            </a:lvl7pPr>
            <a:lvl8pPr>
              <a:defRPr>
                <a:latin typeface="Arial" charset="0"/>
                <a:ea typeface="Arial" charset="0"/>
                <a:cs typeface="Arial" charset="0"/>
              </a:defRPr>
            </a:lvl8pPr>
            <a:lvl9pPr>
              <a:defRPr>
                <a:latin typeface="Arial" charset="0"/>
                <a:ea typeface="Arial" charset="0"/>
                <a:cs typeface="Arial" charset="0"/>
              </a:defRPr>
            </a:lvl9pPr>
          </a:lstStyle>
          <a:p>
            <a:pPr lvl="0"/>
            <a:r>
              <a:rPr lang="en-US" dirty="0"/>
              <a:t>Click to edit text. Use the buttons “Increase List Level” and “Decrease List Level” for </a:t>
            </a:r>
            <a:r>
              <a:rPr lang="en-US" dirty="0" err="1"/>
              <a:t>copytext</a:t>
            </a:r>
            <a:r>
              <a:rPr lang="en-US" dirty="0"/>
              <a:t> or bullet level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9701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gital-DarkMode-Divider">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1EE1B3B3-7865-EF44-BC5D-6942CC10A05E}"/>
              </a:ext>
            </a:extLst>
          </p:cNvPr>
          <p:cNvSpPr/>
          <p:nvPr userDrawn="1"/>
        </p:nvSpPr>
        <p:spPr>
          <a:xfrm>
            <a:off x="2" y="0"/>
            <a:ext cx="12191999"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E59A88E2-B380-0F46-8532-562C6A2D61C8}"/>
              </a:ext>
            </a:extLst>
          </p:cNvPr>
          <p:cNvSpPr/>
          <p:nvPr userDrawn="1"/>
        </p:nvSpPr>
        <p:spPr>
          <a:xfrm>
            <a:off x="2" y="0"/>
            <a:ext cx="12191999" cy="6858000"/>
          </a:xfrm>
          <a:prstGeom prst="rect">
            <a:avLst/>
          </a:prstGeom>
          <a:gradFill>
            <a:gsLst>
              <a:gs pos="100000">
                <a:schemeClr val="tx1">
                  <a:alpha val="46000"/>
                </a:schemeClr>
              </a:gs>
              <a:gs pos="65000">
                <a:schemeClr val="tx1">
                  <a:alpha val="61000"/>
                </a:schemeClr>
              </a:gs>
              <a:gs pos="36000">
                <a:schemeClr val="tx1">
                  <a:alpha val="69000"/>
                </a:schemeClr>
              </a:gs>
              <a:gs pos="0">
                <a:schemeClr val="tx1">
                  <a:alpha val="7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11" name="Text Placeholder 10">
            <a:extLst>
              <a:ext uri="{FF2B5EF4-FFF2-40B4-BE49-F238E27FC236}">
                <a16:creationId xmlns:a16="http://schemas.microsoft.com/office/drawing/2014/main" id="{84303612-5F17-C149-B90A-22156C546267}"/>
              </a:ext>
            </a:extLst>
          </p:cNvPr>
          <p:cNvSpPr>
            <a:spLocks noGrp="1"/>
          </p:cNvSpPr>
          <p:nvPr>
            <p:ph type="body" sz="quarter" idx="10" hasCustomPrompt="1"/>
          </p:nvPr>
        </p:nvSpPr>
        <p:spPr>
          <a:xfrm>
            <a:off x="540003" y="4166156"/>
            <a:ext cx="6409972" cy="798459"/>
          </a:xfrm>
          <a:prstGeom prst="rect">
            <a:avLst/>
          </a:prstGeom>
        </p:spPr>
        <p:txBody>
          <a:bodyPr lIns="0" tIns="0" rIns="0" bIns="0"/>
          <a:lstStyle>
            <a:lvl1pPr marL="10584" indent="-10584">
              <a:buNone/>
              <a:tabLst/>
              <a:defRPr sz="2400">
                <a:latin typeface="Arial" panose="020B0604020202020204" pitchFamily="34" charset="0"/>
                <a:cs typeface="Arial" panose="020B0604020202020204" pitchFamily="34" charset="0"/>
              </a:defRPr>
            </a:lvl1pPr>
          </a:lstStyle>
          <a:p>
            <a:pPr lvl="0"/>
            <a:r>
              <a:rPr lang="en-GB" dirty="0"/>
              <a:t>Click to edit Master subtitle</a:t>
            </a:r>
          </a:p>
        </p:txBody>
      </p:sp>
      <p:sp>
        <p:nvSpPr>
          <p:cNvPr id="24" name="Title Placeholder 6">
            <a:extLst>
              <a:ext uri="{FF2B5EF4-FFF2-40B4-BE49-F238E27FC236}">
                <a16:creationId xmlns:a16="http://schemas.microsoft.com/office/drawing/2014/main" id="{0C598CA7-3F2D-1F41-BC1B-77B2C33498E8}"/>
              </a:ext>
            </a:extLst>
          </p:cNvPr>
          <p:cNvSpPr>
            <a:spLocks noGrp="1"/>
          </p:cNvSpPr>
          <p:nvPr>
            <p:ph type="title" hasCustomPrompt="1"/>
          </p:nvPr>
        </p:nvSpPr>
        <p:spPr>
          <a:xfrm>
            <a:off x="540001" y="2691845"/>
            <a:ext cx="6409971" cy="1361737"/>
          </a:xfrm>
          <a:prstGeom prst="rect">
            <a:avLst/>
          </a:prstGeom>
        </p:spPr>
        <p:txBody>
          <a:bodyPr vert="horz" lIns="0" tIns="0" rIns="0" bIns="0" rtlCol="0" anchor="b">
            <a:noAutofit/>
          </a:bodyPr>
          <a:lstStyle>
            <a:lvl1pPr>
              <a:defRPr sz="4400" b="0" i="0" spc="-100" baseline="0">
                <a:solidFill>
                  <a:srgbClr val="F15A28"/>
                </a:solidFill>
                <a:latin typeface="Arial" panose="020B0604020202020204" pitchFamily="34" charset="0"/>
                <a:ea typeface="Aktiv Grotesk Light" panose="020B0404020202020204" pitchFamily="34" charset="0"/>
                <a:cs typeface="Arial" panose="020B0604020202020204" pitchFamily="34" charset="0"/>
              </a:defRPr>
            </a:lvl1pPr>
          </a:lstStyle>
          <a:p>
            <a:r>
              <a:rPr lang="en-GB" dirty="0"/>
              <a:t>Click to edit master title</a:t>
            </a:r>
          </a:p>
        </p:txBody>
      </p:sp>
      <p:sp>
        <p:nvSpPr>
          <p:cNvPr id="26" name="Rectangle 25">
            <a:extLst>
              <a:ext uri="{FF2B5EF4-FFF2-40B4-BE49-F238E27FC236}">
                <a16:creationId xmlns:a16="http://schemas.microsoft.com/office/drawing/2014/main" id="{B6ED6086-20F9-4E46-B21E-03DDC0B70799}"/>
              </a:ext>
            </a:extLst>
          </p:cNvPr>
          <p:cNvSpPr/>
          <p:nvPr userDrawn="1"/>
        </p:nvSpPr>
        <p:spPr>
          <a:xfrm>
            <a:off x="542400" y="434214"/>
            <a:ext cx="1716688" cy="225767"/>
          </a:xfrm>
          <a:prstGeom prst="rect">
            <a:avLst/>
          </a:prstGeom>
        </p:spPr>
        <p:txBody>
          <a:bodyPr wrap="none" lIns="0" tIns="0" rIns="0" bIns="0">
            <a:spAutoFit/>
          </a:bodyPr>
          <a:lstStyle/>
          <a:p>
            <a:pPr lvl="0"/>
            <a:r>
              <a:rPr lang="en-GB" sz="1467" b="0" i="0" dirty="0">
                <a:solidFill>
                  <a:srgbClr val="F15A28"/>
                </a:solidFill>
                <a:latin typeface="Arial" panose="020B0604020202020204" pitchFamily="34" charset="0"/>
                <a:ea typeface="Aktiv Grotesk Light" panose="020B0404020202020204" pitchFamily="34" charset="0"/>
                <a:cs typeface="Arial" panose="020B0604020202020204" pitchFamily="34" charset="0"/>
              </a:rPr>
              <a:t>DIGITAL PRACTICE</a:t>
            </a:r>
          </a:p>
        </p:txBody>
      </p:sp>
    </p:spTree>
    <p:extLst>
      <p:ext uri="{BB962C8B-B14F-4D97-AF65-F5344CB8AC3E}">
        <p14:creationId xmlns:p14="http://schemas.microsoft.com/office/powerpoint/2010/main" val="1032423852"/>
      </p:ext>
    </p:extLst>
  </p:cSld>
  <p:clrMapOvr>
    <a:masterClrMapping/>
  </p:clrMapOvr>
  <p:extLst>
    <p:ext uri="{DCECCB84-F9BA-43D5-87BE-67443E8EF086}">
      <p15:sldGuideLst xmlns:p15="http://schemas.microsoft.com/office/powerpoint/2012/main">
        <p15:guide id="1" orient="horz" pos="2160">
          <p15:clr>
            <a:srgbClr val="FBAE40"/>
          </p15:clr>
        </p15:guide>
        <p15:guide id="2" pos="34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Digital-DarkMode-Blank with Footer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5100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gital-DarkMode-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2E131B9-BED8-3449-9C68-CEC758C1D0DC}"/>
              </a:ext>
            </a:extLst>
          </p:cNvPr>
          <p:cNvSpPr/>
          <p:nvPr userDrawn="1"/>
        </p:nvSpPr>
        <p:spPr>
          <a:xfrm>
            <a:off x="2" y="0"/>
            <a:ext cx="12191999"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6" name="Rectangle 5">
            <a:extLst>
              <a:ext uri="{FF2B5EF4-FFF2-40B4-BE49-F238E27FC236}">
                <a16:creationId xmlns:a16="http://schemas.microsoft.com/office/drawing/2014/main" id="{B1DB2409-554D-564C-90E2-AFF526ED8DFC}"/>
              </a:ext>
            </a:extLst>
          </p:cNvPr>
          <p:cNvSpPr/>
          <p:nvPr userDrawn="1"/>
        </p:nvSpPr>
        <p:spPr>
          <a:xfrm>
            <a:off x="2" y="0"/>
            <a:ext cx="12191999" cy="6858000"/>
          </a:xfrm>
          <a:prstGeom prst="rect">
            <a:avLst/>
          </a:prstGeom>
          <a:gradFill>
            <a:gsLst>
              <a:gs pos="100000">
                <a:schemeClr val="tx1">
                  <a:alpha val="46000"/>
                </a:schemeClr>
              </a:gs>
              <a:gs pos="65000">
                <a:schemeClr val="tx1">
                  <a:alpha val="61000"/>
                </a:schemeClr>
              </a:gs>
              <a:gs pos="36000">
                <a:schemeClr val="tx1">
                  <a:alpha val="69000"/>
                </a:schemeClr>
              </a:gs>
              <a:gs pos="0">
                <a:schemeClr val="tx1">
                  <a:alpha val="7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extLst>
      <p:ext uri="{BB962C8B-B14F-4D97-AF65-F5344CB8AC3E}">
        <p14:creationId xmlns:p14="http://schemas.microsoft.com/office/powerpoint/2010/main" val="106442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gital-DarkMode-End Slide-1">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B0D9B13-6238-034F-8943-016805DC49A4}"/>
              </a:ext>
            </a:extLst>
          </p:cNvPr>
          <p:cNvSpPr/>
          <p:nvPr userDrawn="1"/>
        </p:nvSpPr>
        <p:spPr>
          <a:xfrm>
            <a:off x="2" y="0"/>
            <a:ext cx="12191999"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9B1C3900-3617-CE49-B9BE-A22B39A51697}"/>
              </a:ext>
            </a:extLst>
          </p:cNvPr>
          <p:cNvSpPr/>
          <p:nvPr userDrawn="1"/>
        </p:nvSpPr>
        <p:spPr>
          <a:xfrm>
            <a:off x="2" y="0"/>
            <a:ext cx="12191999" cy="6858000"/>
          </a:xfrm>
          <a:prstGeom prst="rect">
            <a:avLst/>
          </a:prstGeom>
          <a:gradFill>
            <a:gsLst>
              <a:gs pos="100000">
                <a:schemeClr val="tx1">
                  <a:alpha val="46000"/>
                </a:schemeClr>
              </a:gs>
              <a:gs pos="65000">
                <a:schemeClr val="tx1">
                  <a:alpha val="61000"/>
                </a:schemeClr>
              </a:gs>
              <a:gs pos="36000">
                <a:schemeClr val="tx1">
                  <a:alpha val="69000"/>
                </a:schemeClr>
              </a:gs>
              <a:gs pos="0">
                <a:schemeClr val="tx1">
                  <a:alpha val="7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21" name="object 3">
            <a:extLst>
              <a:ext uri="{FF2B5EF4-FFF2-40B4-BE49-F238E27FC236}">
                <a16:creationId xmlns:a16="http://schemas.microsoft.com/office/drawing/2014/main" id="{17D52F77-B7DD-1843-B7F2-E3D0D17F7BD4}"/>
              </a:ext>
            </a:extLst>
          </p:cNvPr>
          <p:cNvSpPr/>
          <p:nvPr userDrawn="1"/>
        </p:nvSpPr>
        <p:spPr>
          <a:xfrm>
            <a:off x="428" y="0"/>
            <a:ext cx="12184795" cy="6858000"/>
          </a:xfrm>
          <a:prstGeom prst="rect">
            <a:avLst/>
          </a:prstGeom>
          <a:blipFill>
            <a:blip r:embed="rId2" cstate="print">
              <a:alphaModFix amt="48000"/>
              <a:duotone>
                <a:prstClr val="black"/>
                <a:schemeClr val="accent2">
                  <a:tint val="45000"/>
                  <a:satMod val="400000"/>
                </a:schemeClr>
              </a:duotone>
            </a:blip>
            <a:stretch>
              <a:fillRect/>
            </a:stretch>
          </a:blipFill>
          <a:effectLst/>
        </p:spPr>
        <p:txBody>
          <a:bodyPr wrap="square" lIns="0" tIns="0" rIns="0" bIns="0" rtlCol="0"/>
          <a:lstStyle/>
          <a:p>
            <a:endParaRPr sz="1092" dirty="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6A69AC1A-239C-6546-A727-23A886738C7D}"/>
              </a:ext>
            </a:extLst>
          </p:cNvPr>
          <p:cNvSpPr>
            <a:spLocks noGrp="1"/>
          </p:cNvSpPr>
          <p:nvPr>
            <p:ph type="title" hasCustomPrompt="1"/>
          </p:nvPr>
        </p:nvSpPr>
        <p:spPr>
          <a:xfrm>
            <a:off x="550048" y="365131"/>
            <a:ext cx="6408000" cy="737156"/>
          </a:xfrm>
          <a:prstGeom prst="rect">
            <a:avLst/>
          </a:prstGeom>
        </p:spPr>
        <p:txBody>
          <a:bodyPr lIns="0" tIns="0" rIns="0" bIns="0"/>
          <a:lstStyle>
            <a:lvl1pPr>
              <a:defRPr b="0" i="0" spc="-80" baseline="0">
                <a:solidFill>
                  <a:srgbClr val="F15A28"/>
                </a:solidFill>
                <a:latin typeface="Arial" panose="020B0604020202020204" pitchFamily="34" charset="0"/>
                <a:ea typeface="Aktiv Grotesk Light" panose="020B0404020202020204" pitchFamily="34" charset="0"/>
                <a:cs typeface="Arial" panose="020B0604020202020204" pitchFamily="34" charset="0"/>
              </a:defRPr>
            </a:lvl1pPr>
          </a:lstStyle>
          <a:p>
            <a:r>
              <a:rPr lang="en-GB" dirty="0"/>
              <a:t>Thank you</a:t>
            </a:r>
            <a:endParaRPr lang="en-US" dirty="0"/>
          </a:p>
        </p:txBody>
      </p:sp>
      <p:grpSp>
        <p:nvGrpSpPr>
          <p:cNvPr id="45" name="Group 44">
            <a:extLst>
              <a:ext uri="{FF2B5EF4-FFF2-40B4-BE49-F238E27FC236}">
                <a16:creationId xmlns:a16="http://schemas.microsoft.com/office/drawing/2014/main" id="{714FC180-FFB9-054D-B6C2-557FC5B3FB46}"/>
              </a:ext>
            </a:extLst>
          </p:cNvPr>
          <p:cNvGrpSpPr/>
          <p:nvPr userDrawn="1"/>
        </p:nvGrpSpPr>
        <p:grpSpPr>
          <a:xfrm>
            <a:off x="566465" y="6148072"/>
            <a:ext cx="1851052" cy="243997"/>
            <a:chOff x="643241" y="6148071"/>
            <a:chExt cx="1851052" cy="243997"/>
          </a:xfrm>
        </p:grpSpPr>
        <p:sp>
          <p:nvSpPr>
            <p:cNvPr id="46" name="Freeform 45">
              <a:extLst>
                <a:ext uri="{FF2B5EF4-FFF2-40B4-BE49-F238E27FC236}">
                  <a16:creationId xmlns:a16="http://schemas.microsoft.com/office/drawing/2014/main" id="{57BDA98C-90C4-AE4C-A924-0099E157AE43}"/>
                </a:ext>
              </a:extLst>
            </p:cNvPr>
            <p:cNvSpPr/>
            <p:nvPr/>
          </p:nvSpPr>
          <p:spPr>
            <a:xfrm>
              <a:off x="643241" y="6148071"/>
              <a:ext cx="662491" cy="243997"/>
            </a:xfrm>
            <a:custGeom>
              <a:avLst/>
              <a:gdLst>
                <a:gd name="connsiteX0" fmla="*/ 64262 w 632805"/>
                <a:gd name="connsiteY0" fmla="*/ 48220 h 233064"/>
                <a:gd name="connsiteX1" fmla="*/ 64262 w 632805"/>
                <a:gd name="connsiteY1" fmla="*/ 64294 h 233064"/>
                <a:gd name="connsiteX2" fmla="*/ 64262 w 632805"/>
                <a:gd name="connsiteY2" fmla="*/ 65187 h 233064"/>
                <a:gd name="connsiteX3" fmla="*/ 64262 w 632805"/>
                <a:gd name="connsiteY3" fmla="*/ 65187 h 233064"/>
                <a:gd name="connsiteX4" fmla="*/ 65155 w 632805"/>
                <a:gd name="connsiteY4" fmla="*/ 63401 h 233064"/>
                <a:gd name="connsiteX5" fmla="*/ 108889 w 632805"/>
                <a:gd name="connsiteY5" fmla="*/ 45541 h 233064"/>
                <a:gd name="connsiteX6" fmla="*/ 149053 w 632805"/>
                <a:gd name="connsiteY6" fmla="*/ 78581 h 233064"/>
                <a:gd name="connsiteX7" fmla="*/ 149053 w 632805"/>
                <a:gd name="connsiteY7" fmla="*/ 168771 h 233064"/>
                <a:gd name="connsiteX8" fmla="*/ 149053 w 632805"/>
                <a:gd name="connsiteY8" fmla="*/ 168771 h 233064"/>
                <a:gd name="connsiteX9" fmla="*/ 149053 w 632805"/>
                <a:gd name="connsiteY9" fmla="*/ 191095 h 233064"/>
                <a:gd name="connsiteX10" fmla="*/ 128525 w 632805"/>
                <a:gd name="connsiteY10" fmla="*/ 191095 h 233064"/>
                <a:gd name="connsiteX11" fmla="*/ 128525 w 632805"/>
                <a:gd name="connsiteY11" fmla="*/ 164306 h 233064"/>
                <a:gd name="connsiteX12" fmla="*/ 128525 w 632805"/>
                <a:gd name="connsiteY12" fmla="*/ 87511 h 233064"/>
                <a:gd name="connsiteX13" fmla="*/ 97286 w 632805"/>
                <a:gd name="connsiteY13" fmla="*/ 59829 h 233064"/>
                <a:gd name="connsiteX14" fmla="*/ 64262 w 632805"/>
                <a:gd name="connsiteY14" fmla="*/ 85725 h 233064"/>
                <a:gd name="connsiteX15" fmla="*/ 64262 w 632805"/>
                <a:gd name="connsiteY15" fmla="*/ 167878 h 233064"/>
                <a:gd name="connsiteX16" fmla="*/ 64262 w 632805"/>
                <a:gd name="connsiteY16" fmla="*/ 168771 h 233064"/>
                <a:gd name="connsiteX17" fmla="*/ 64262 w 632805"/>
                <a:gd name="connsiteY17" fmla="*/ 191095 h 233064"/>
                <a:gd name="connsiteX18" fmla="*/ 43734 w 632805"/>
                <a:gd name="connsiteY18" fmla="*/ 191095 h 233064"/>
                <a:gd name="connsiteX19" fmla="*/ 43734 w 632805"/>
                <a:gd name="connsiteY19" fmla="*/ 167878 h 233064"/>
                <a:gd name="connsiteX20" fmla="*/ 43734 w 632805"/>
                <a:gd name="connsiteY20" fmla="*/ 65187 h 233064"/>
                <a:gd name="connsiteX21" fmla="*/ 43734 w 632805"/>
                <a:gd name="connsiteY21" fmla="*/ 46434 h 233064"/>
                <a:gd name="connsiteX22" fmla="*/ 47304 w 632805"/>
                <a:gd name="connsiteY22" fmla="*/ 46434 h 233064"/>
                <a:gd name="connsiteX23" fmla="*/ 58015 w 632805"/>
                <a:gd name="connsiteY23" fmla="*/ 46434 h 233064"/>
                <a:gd name="connsiteX24" fmla="*/ 64262 w 632805"/>
                <a:gd name="connsiteY24" fmla="*/ 46434 h 233064"/>
                <a:gd name="connsiteX25" fmla="*/ 339163 w 632805"/>
                <a:gd name="connsiteY25" fmla="*/ 165199 h 233064"/>
                <a:gd name="connsiteX26" fmla="*/ 382004 w 632805"/>
                <a:gd name="connsiteY26" fmla="*/ 184845 h 233064"/>
                <a:gd name="connsiteX27" fmla="*/ 413243 w 632805"/>
                <a:gd name="connsiteY27" fmla="*/ 161627 h 233064"/>
                <a:gd name="connsiteX28" fmla="*/ 381112 w 632805"/>
                <a:gd name="connsiteY28" fmla="*/ 132159 h 233064"/>
                <a:gd name="connsiteX29" fmla="*/ 343625 w 632805"/>
                <a:gd name="connsiteY29" fmla="*/ 108049 h 233064"/>
                <a:gd name="connsiteX30" fmla="*/ 344518 w 632805"/>
                <a:gd name="connsiteY30" fmla="*/ 122337 h 233064"/>
                <a:gd name="connsiteX31" fmla="*/ 276685 w 632805"/>
                <a:gd name="connsiteY31" fmla="*/ 198239 h 233064"/>
                <a:gd name="connsiteX32" fmla="*/ 208853 w 632805"/>
                <a:gd name="connsiteY32" fmla="*/ 122337 h 233064"/>
                <a:gd name="connsiteX33" fmla="*/ 237414 w 632805"/>
                <a:gd name="connsiteY33" fmla="*/ 60722 h 233064"/>
                <a:gd name="connsiteX34" fmla="*/ 191002 w 632805"/>
                <a:gd name="connsiteY34" fmla="*/ 60722 h 233064"/>
                <a:gd name="connsiteX35" fmla="*/ 191002 w 632805"/>
                <a:gd name="connsiteY35" fmla="*/ 169664 h 233064"/>
                <a:gd name="connsiteX36" fmla="*/ 191002 w 632805"/>
                <a:gd name="connsiteY36" fmla="*/ 169664 h 233064"/>
                <a:gd name="connsiteX37" fmla="*/ 191002 w 632805"/>
                <a:gd name="connsiteY37" fmla="*/ 191988 h 233064"/>
                <a:gd name="connsiteX38" fmla="*/ 170474 w 632805"/>
                <a:gd name="connsiteY38" fmla="*/ 191988 h 233064"/>
                <a:gd name="connsiteX39" fmla="*/ 170474 w 632805"/>
                <a:gd name="connsiteY39" fmla="*/ 170557 h 233064"/>
                <a:gd name="connsiteX40" fmla="*/ 170474 w 632805"/>
                <a:gd name="connsiteY40" fmla="*/ 169664 h 233064"/>
                <a:gd name="connsiteX41" fmla="*/ 170474 w 632805"/>
                <a:gd name="connsiteY41" fmla="*/ 60722 h 233064"/>
                <a:gd name="connsiteX42" fmla="*/ 152623 w 632805"/>
                <a:gd name="connsiteY42" fmla="*/ 60722 h 233064"/>
                <a:gd name="connsiteX43" fmla="*/ 152623 w 632805"/>
                <a:gd name="connsiteY43" fmla="*/ 47327 h 233064"/>
                <a:gd name="connsiteX44" fmla="*/ 171366 w 632805"/>
                <a:gd name="connsiteY44" fmla="*/ 47327 h 233064"/>
                <a:gd name="connsiteX45" fmla="*/ 214208 w 632805"/>
                <a:gd name="connsiteY45" fmla="*/ 3572 h 233064"/>
                <a:gd name="connsiteX46" fmla="*/ 242769 w 632805"/>
                <a:gd name="connsiteY46" fmla="*/ 7144 h 233064"/>
                <a:gd name="connsiteX47" fmla="*/ 242769 w 632805"/>
                <a:gd name="connsiteY47" fmla="*/ 25896 h 233064"/>
                <a:gd name="connsiteX48" fmla="*/ 242769 w 632805"/>
                <a:gd name="connsiteY48" fmla="*/ 28575 h 233064"/>
                <a:gd name="connsiteX49" fmla="*/ 241876 w 632805"/>
                <a:gd name="connsiteY49" fmla="*/ 28575 h 233064"/>
                <a:gd name="connsiteX50" fmla="*/ 209745 w 632805"/>
                <a:gd name="connsiteY50" fmla="*/ 16966 h 233064"/>
                <a:gd name="connsiteX51" fmla="*/ 190110 w 632805"/>
                <a:gd name="connsiteY51" fmla="*/ 47327 h 233064"/>
                <a:gd name="connsiteX52" fmla="*/ 266867 w 632805"/>
                <a:gd name="connsiteY52" fmla="*/ 47327 h 233064"/>
                <a:gd name="connsiteX53" fmla="*/ 276685 w 632805"/>
                <a:gd name="connsiteY53" fmla="*/ 46434 h 233064"/>
                <a:gd name="connsiteX54" fmla="*/ 338270 w 632805"/>
                <a:gd name="connsiteY54" fmla="*/ 90190 h 233064"/>
                <a:gd name="connsiteX55" fmla="*/ 338270 w 632805"/>
                <a:gd name="connsiteY55" fmla="*/ 85725 h 233064"/>
                <a:gd name="connsiteX56" fmla="*/ 391822 w 632805"/>
                <a:gd name="connsiteY56" fmla="*/ 47327 h 233064"/>
                <a:gd name="connsiteX57" fmla="*/ 394500 w 632805"/>
                <a:gd name="connsiteY57" fmla="*/ 47327 h 233064"/>
                <a:gd name="connsiteX58" fmla="*/ 425738 w 632805"/>
                <a:gd name="connsiteY58" fmla="*/ 52685 h 233064"/>
                <a:gd name="connsiteX59" fmla="*/ 432878 w 632805"/>
                <a:gd name="connsiteY59" fmla="*/ 71438 h 233064"/>
                <a:gd name="connsiteX60" fmla="*/ 441804 w 632805"/>
                <a:gd name="connsiteY60" fmla="*/ 92869 h 233064"/>
                <a:gd name="connsiteX61" fmla="*/ 465010 w 632805"/>
                <a:gd name="connsiteY61" fmla="*/ 149126 h 233064"/>
                <a:gd name="connsiteX62" fmla="*/ 467687 w 632805"/>
                <a:gd name="connsiteY62" fmla="*/ 158055 h 233064"/>
                <a:gd name="connsiteX63" fmla="*/ 470365 w 632805"/>
                <a:gd name="connsiteY63" fmla="*/ 149126 h 233064"/>
                <a:gd name="connsiteX64" fmla="*/ 499818 w 632805"/>
                <a:gd name="connsiteY64" fmla="*/ 76795 h 233064"/>
                <a:gd name="connsiteX65" fmla="*/ 549800 w 632805"/>
                <a:gd name="connsiteY65" fmla="*/ 48220 h 233064"/>
                <a:gd name="connsiteX66" fmla="*/ 580146 w 632805"/>
                <a:gd name="connsiteY66" fmla="*/ 53578 h 233064"/>
                <a:gd name="connsiteX67" fmla="*/ 580146 w 632805"/>
                <a:gd name="connsiteY67" fmla="*/ 75009 h 233064"/>
                <a:gd name="connsiteX68" fmla="*/ 543553 w 632805"/>
                <a:gd name="connsiteY68" fmla="*/ 60722 h 233064"/>
                <a:gd name="connsiteX69" fmla="*/ 515884 w 632805"/>
                <a:gd name="connsiteY69" fmla="*/ 84832 h 233064"/>
                <a:gd name="connsiteX70" fmla="*/ 548908 w 632805"/>
                <a:gd name="connsiteY70" fmla="*/ 113407 h 233064"/>
                <a:gd name="connsiteX71" fmla="*/ 588179 w 632805"/>
                <a:gd name="connsiteY71" fmla="*/ 154484 h 233064"/>
                <a:gd name="connsiteX72" fmla="*/ 532842 w 632805"/>
                <a:gd name="connsiteY72" fmla="*/ 199132 h 233064"/>
                <a:gd name="connsiteX73" fmla="*/ 493571 w 632805"/>
                <a:gd name="connsiteY73" fmla="*/ 188416 h 233064"/>
                <a:gd name="connsiteX74" fmla="*/ 493571 w 632805"/>
                <a:gd name="connsiteY74" fmla="*/ 163413 h 233064"/>
                <a:gd name="connsiteX75" fmla="*/ 494463 w 632805"/>
                <a:gd name="connsiteY75" fmla="*/ 164306 h 233064"/>
                <a:gd name="connsiteX76" fmla="*/ 539090 w 632805"/>
                <a:gd name="connsiteY76" fmla="*/ 184845 h 233064"/>
                <a:gd name="connsiteX77" fmla="*/ 570329 w 632805"/>
                <a:gd name="connsiteY77" fmla="*/ 161627 h 233064"/>
                <a:gd name="connsiteX78" fmla="*/ 538197 w 632805"/>
                <a:gd name="connsiteY78" fmla="*/ 132159 h 233064"/>
                <a:gd name="connsiteX79" fmla="*/ 500711 w 632805"/>
                <a:gd name="connsiteY79" fmla="*/ 103584 h 233064"/>
                <a:gd name="connsiteX80" fmla="*/ 447159 w 632805"/>
                <a:gd name="connsiteY80" fmla="*/ 233065 h 233064"/>
                <a:gd name="connsiteX81" fmla="*/ 427523 w 632805"/>
                <a:gd name="connsiteY81" fmla="*/ 233065 h 233064"/>
                <a:gd name="connsiteX82" fmla="*/ 431986 w 632805"/>
                <a:gd name="connsiteY82" fmla="*/ 224135 h 233064"/>
                <a:gd name="connsiteX83" fmla="*/ 436449 w 632805"/>
                <a:gd name="connsiteY83" fmla="*/ 216099 h 233064"/>
                <a:gd name="connsiteX84" fmla="*/ 436449 w 632805"/>
                <a:gd name="connsiteY84" fmla="*/ 216099 h 233064"/>
                <a:gd name="connsiteX85" fmla="*/ 455192 w 632805"/>
                <a:gd name="connsiteY85" fmla="*/ 175915 h 233064"/>
                <a:gd name="connsiteX86" fmla="*/ 416813 w 632805"/>
                <a:gd name="connsiteY86" fmla="*/ 83046 h 233064"/>
                <a:gd name="connsiteX87" fmla="*/ 415028 w 632805"/>
                <a:gd name="connsiteY87" fmla="*/ 77688 h 233064"/>
                <a:gd name="connsiteX88" fmla="*/ 400747 w 632805"/>
                <a:gd name="connsiteY88" fmla="*/ 61615 h 233064"/>
                <a:gd name="connsiteX89" fmla="*/ 385574 w 632805"/>
                <a:gd name="connsiteY89" fmla="*/ 58936 h 233064"/>
                <a:gd name="connsiteX90" fmla="*/ 357013 w 632805"/>
                <a:gd name="connsiteY90" fmla="*/ 83046 h 233064"/>
                <a:gd name="connsiteX91" fmla="*/ 390929 w 632805"/>
                <a:gd name="connsiteY91" fmla="*/ 111621 h 233064"/>
                <a:gd name="connsiteX92" fmla="*/ 430201 w 632805"/>
                <a:gd name="connsiteY92" fmla="*/ 152698 h 233064"/>
                <a:gd name="connsiteX93" fmla="*/ 374864 w 632805"/>
                <a:gd name="connsiteY93" fmla="*/ 197346 h 233064"/>
                <a:gd name="connsiteX94" fmla="*/ 338270 w 632805"/>
                <a:gd name="connsiteY94" fmla="*/ 188416 h 233064"/>
                <a:gd name="connsiteX95" fmla="*/ 338270 w 632805"/>
                <a:gd name="connsiteY95" fmla="*/ 165199 h 233064"/>
                <a:gd name="connsiteX96" fmla="*/ 434664 w 632805"/>
                <a:gd name="connsiteY96" fmla="*/ 70544 h 233064"/>
                <a:gd name="connsiteX97" fmla="*/ 435556 w 632805"/>
                <a:gd name="connsiteY97" fmla="*/ 73223 h 233064"/>
                <a:gd name="connsiteX98" fmla="*/ 443589 w 632805"/>
                <a:gd name="connsiteY98" fmla="*/ 91976 h 233064"/>
                <a:gd name="connsiteX99" fmla="*/ 434664 w 632805"/>
                <a:gd name="connsiteY99" fmla="*/ 70544 h 233064"/>
                <a:gd name="connsiteX100" fmla="*/ 432878 w 632805"/>
                <a:gd name="connsiteY100" fmla="*/ 224135 h 233064"/>
                <a:gd name="connsiteX101" fmla="*/ 437341 w 632805"/>
                <a:gd name="connsiteY101" fmla="*/ 216099 h 233064"/>
                <a:gd name="connsiteX102" fmla="*/ 432878 w 632805"/>
                <a:gd name="connsiteY102" fmla="*/ 224135 h 233064"/>
                <a:gd name="connsiteX103" fmla="*/ 417705 w 632805"/>
                <a:gd name="connsiteY103" fmla="*/ 83046 h 233064"/>
                <a:gd name="connsiteX104" fmla="*/ 416813 w 632805"/>
                <a:gd name="connsiteY104" fmla="*/ 81260 h 233064"/>
                <a:gd name="connsiteX105" fmla="*/ 417705 w 632805"/>
                <a:gd name="connsiteY105" fmla="*/ 83046 h 233064"/>
                <a:gd name="connsiteX106" fmla="*/ 230274 w 632805"/>
                <a:gd name="connsiteY106" fmla="*/ 124123 h 233064"/>
                <a:gd name="connsiteX107" fmla="*/ 277578 w 632805"/>
                <a:gd name="connsiteY107" fmla="*/ 184845 h 233064"/>
                <a:gd name="connsiteX108" fmla="*/ 323097 w 632805"/>
                <a:gd name="connsiteY108" fmla="*/ 122337 h 233064"/>
                <a:gd name="connsiteX109" fmla="*/ 275793 w 632805"/>
                <a:gd name="connsiteY109" fmla="*/ 61615 h 233064"/>
                <a:gd name="connsiteX110" fmla="*/ 230274 w 632805"/>
                <a:gd name="connsiteY110" fmla="*/ 124123 h 233064"/>
                <a:gd name="connsiteX111" fmla="*/ 0 w 632805"/>
                <a:gd name="connsiteY111" fmla="*/ 26789 h 233064"/>
                <a:gd name="connsiteX112" fmla="*/ 0 w 632805"/>
                <a:gd name="connsiteY112" fmla="*/ 26789 h 233064"/>
                <a:gd name="connsiteX113" fmla="*/ 0 w 632805"/>
                <a:gd name="connsiteY113" fmla="*/ 4465 h 233064"/>
                <a:gd name="connsiteX114" fmla="*/ 22313 w 632805"/>
                <a:gd name="connsiteY114" fmla="*/ 4465 h 233064"/>
                <a:gd name="connsiteX115" fmla="*/ 22313 w 632805"/>
                <a:gd name="connsiteY115" fmla="*/ 26789 h 233064"/>
                <a:gd name="connsiteX116" fmla="*/ 22313 w 632805"/>
                <a:gd name="connsiteY116" fmla="*/ 26789 h 233064"/>
                <a:gd name="connsiteX117" fmla="*/ 22313 w 632805"/>
                <a:gd name="connsiteY117" fmla="*/ 169664 h 233064"/>
                <a:gd name="connsiteX118" fmla="*/ 22313 w 632805"/>
                <a:gd name="connsiteY118" fmla="*/ 170557 h 233064"/>
                <a:gd name="connsiteX119" fmla="*/ 22313 w 632805"/>
                <a:gd name="connsiteY119" fmla="*/ 192881 h 233064"/>
                <a:gd name="connsiteX120" fmla="*/ 0 w 632805"/>
                <a:gd name="connsiteY120" fmla="*/ 192881 h 233064"/>
                <a:gd name="connsiteX121" fmla="*/ 0 w 632805"/>
                <a:gd name="connsiteY121" fmla="*/ 170557 h 233064"/>
                <a:gd name="connsiteX122" fmla="*/ 0 w 632805"/>
                <a:gd name="connsiteY122" fmla="*/ 170557 h 233064"/>
                <a:gd name="connsiteX123" fmla="*/ 0 w 632805"/>
                <a:gd name="connsiteY123" fmla="*/ 26789 h 233064"/>
                <a:gd name="connsiteX124" fmla="*/ 610493 w 632805"/>
                <a:gd name="connsiteY124" fmla="*/ 11609 h 233064"/>
                <a:gd name="connsiteX125" fmla="*/ 614955 w 632805"/>
                <a:gd name="connsiteY125" fmla="*/ 11609 h 233064"/>
                <a:gd name="connsiteX126" fmla="*/ 618525 w 632805"/>
                <a:gd name="connsiteY126" fmla="*/ 14288 h 233064"/>
                <a:gd name="connsiteX127" fmla="*/ 615848 w 632805"/>
                <a:gd name="connsiteY127" fmla="*/ 16966 h 233064"/>
                <a:gd name="connsiteX128" fmla="*/ 611385 w 632805"/>
                <a:gd name="connsiteY128" fmla="*/ 16966 h 233064"/>
                <a:gd name="connsiteX129" fmla="*/ 611385 w 632805"/>
                <a:gd name="connsiteY129" fmla="*/ 11609 h 233064"/>
                <a:gd name="connsiteX130" fmla="*/ 606922 w 632805"/>
                <a:gd name="connsiteY130" fmla="*/ 28575 h 233064"/>
                <a:gd name="connsiteX131" fmla="*/ 610493 w 632805"/>
                <a:gd name="connsiteY131" fmla="*/ 28575 h 233064"/>
                <a:gd name="connsiteX132" fmla="*/ 610493 w 632805"/>
                <a:gd name="connsiteY132" fmla="*/ 20538 h 233064"/>
                <a:gd name="connsiteX133" fmla="*/ 614955 w 632805"/>
                <a:gd name="connsiteY133" fmla="*/ 20538 h 233064"/>
                <a:gd name="connsiteX134" fmla="*/ 618525 w 632805"/>
                <a:gd name="connsiteY134" fmla="*/ 28575 h 233064"/>
                <a:gd name="connsiteX135" fmla="*/ 622988 w 632805"/>
                <a:gd name="connsiteY135" fmla="*/ 28575 h 233064"/>
                <a:gd name="connsiteX136" fmla="*/ 619418 w 632805"/>
                <a:gd name="connsiteY136" fmla="*/ 19645 h 233064"/>
                <a:gd name="connsiteX137" fmla="*/ 622988 w 632805"/>
                <a:gd name="connsiteY137" fmla="*/ 14288 h 233064"/>
                <a:gd name="connsiteX138" fmla="*/ 614955 w 632805"/>
                <a:gd name="connsiteY138" fmla="*/ 8037 h 233064"/>
                <a:gd name="connsiteX139" fmla="*/ 607815 w 632805"/>
                <a:gd name="connsiteY139" fmla="*/ 8037 h 233064"/>
                <a:gd name="connsiteX140" fmla="*/ 607815 w 632805"/>
                <a:gd name="connsiteY140" fmla="*/ 28575 h 233064"/>
                <a:gd name="connsiteX141" fmla="*/ 597105 w 632805"/>
                <a:gd name="connsiteY141" fmla="*/ 18752 h 233064"/>
                <a:gd name="connsiteX142" fmla="*/ 613170 w 632805"/>
                <a:gd name="connsiteY142" fmla="*/ 2679 h 233064"/>
                <a:gd name="connsiteX143" fmla="*/ 629236 w 632805"/>
                <a:gd name="connsiteY143" fmla="*/ 18752 h 233064"/>
                <a:gd name="connsiteX144" fmla="*/ 613170 w 632805"/>
                <a:gd name="connsiteY144" fmla="*/ 34826 h 233064"/>
                <a:gd name="connsiteX145" fmla="*/ 597105 w 632805"/>
                <a:gd name="connsiteY145" fmla="*/ 18752 h 233064"/>
                <a:gd name="connsiteX146" fmla="*/ 614063 w 632805"/>
                <a:gd name="connsiteY146" fmla="*/ 37505 h 233064"/>
                <a:gd name="connsiteX147" fmla="*/ 632806 w 632805"/>
                <a:gd name="connsiteY147" fmla="*/ 18752 h 233064"/>
                <a:gd name="connsiteX148" fmla="*/ 614063 w 632805"/>
                <a:gd name="connsiteY148" fmla="*/ 0 h 233064"/>
                <a:gd name="connsiteX149" fmla="*/ 595319 w 632805"/>
                <a:gd name="connsiteY149" fmla="*/ 18752 h 233064"/>
                <a:gd name="connsiteX150" fmla="*/ 614063 w 632805"/>
                <a:gd name="connsiteY150" fmla="*/ 37505 h 23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632805" h="233064">
                  <a:moveTo>
                    <a:pt x="64262" y="48220"/>
                  </a:moveTo>
                  <a:lnTo>
                    <a:pt x="64262" y="64294"/>
                  </a:lnTo>
                  <a:lnTo>
                    <a:pt x="64262" y="65187"/>
                  </a:lnTo>
                  <a:lnTo>
                    <a:pt x="64262" y="65187"/>
                  </a:lnTo>
                  <a:cubicBezTo>
                    <a:pt x="64262" y="64294"/>
                    <a:pt x="65155" y="64294"/>
                    <a:pt x="65155" y="63401"/>
                  </a:cubicBezTo>
                  <a:cubicBezTo>
                    <a:pt x="73188" y="54471"/>
                    <a:pt x="83898" y="45541"/>
                    <a:pt x="108889" y="45541"/>
                  </a:cubicBezTo>
                  <a:cubicBezTo>
                    <a:pt x="132987" y="45541"/>
                    <a:pt x="148161" y="66080"/>
                    <a:pt x="149053" y="78581"/>
                  </a:cubicBezTo>
                  <a:lnTo>
                    <a:pt x="149053" y="168771"/>
                  </a:lnTo>
                  <a:lnTo>
                    <a:pt x="149053" y="168771"/>
                  </a:lnTo>
                  <a:lnTo>
                    <a:pt x="149053" y="191095"/>
                  </a:lnTo>
                  <a:lnTo>
                    <a:pt x="128525" y="191095"/>
                  </a:lnTo>
                  <a:lnTo>
                    <a:pt x="128525" y="164306"/>
                  </a:lnTo>
                  <a:lnTo>
                    <a:pt x="128525" y="87511"/>
                  </a:lnTo>
                  <a:cubicBezTo>
                    <a:pt x="128525" y="71438"/>
                    <a:pt x="114244" y="59829"/>
                    <a:pt x="97286" y="59829"/>
                  </a:cubicBezTo>
                  <a:cubicBezTo>
                    <a:pt x="83006" y="59829"/>
                    <a:pt x="65155" y="72331"/>
                    <a:pt x="64262" y="85725"/>
                  </a:cubicBezTo>
                  <a:lnTo>
                    <a:pt x="64262" y="167878"/>
                  </a:lnTo>
                  <a:lnTo>
                    <a:pt x="64262" y="168771"/>
                  </a:lnTo>
                  <a:lnTo>
                    <a:pt x="64262" y="191095"/>
                  </a:lnTo>
                  <a:lnTo>
                    <a:pt x="43734" y="191095"/>
                  </a:lnTo>
                  <a:lnTo>
                    <a:pt x="43734" y="167878"/>
                  </a:lnTo>
                  <a:lnTo>
                    <a:pt x="43734" y="65187"/>
                  </a:lnTo>
                  <a:lnTo>
                    <a:pt x="43734" y="46434"/>
                  </a:lnTo>
                  <a:lnTo>
                    <a:pt x="47304" y="46434"/>
                  </a:lnTo>
                  <a:lnTo>
                    <a:pt x="58015" y="46434"/>
                  </a:lnTo>
                  <a:lnTo>
                    <a:pt x="64262" y="46434"/>
                  </a:lnTo>
                  <a:close/>
                  <a:moveTo>
                    <a:pt x="339163" y="165199"/>
                  </a:moveTo>
                  <a:cubicBezTo>
                    <a:pt x="353443" y="177701"/>
                    <a:pt x="365939" y="184845"/>
                    <a:pt x="382004" y="184845"/>
                  </a:cubicBezTo>
                  <a:cubicBezTo>
                    <a:pt x="398070" y="184845"/>
                    <a:pt x="413243" y="176808"/>
                    <a:pt x="413243" y="161627"/>
                  </a:cubicBezTo>
                  <a:cubicBezTo>
                    <a:pt x="413243" y="148233"/>
                    <a:pt x="401640" y="141089"/>
                    <a:pt x="381112" y="132159"/>
                  </a:cubicBezTo>
                  <a:cubicBezTo>
                    <a:pt x="364153" y="125016"/>
                    <a:pt x="350765" y="119658"/>
                    <a:pt x="343625" y="108049"/>
                  </a:cubicBezTo>
                  <a:cubicBezTo>
                    <a:pt x="344518" y="112514"/>
                    <a:pt x="344518" y="117872"/>
                    <a:pt x="344518" y="122337"/>
                  </a:cubicBezTo>
                  <a:cubicBezTo>
                    <a:pt x="344518" y="164306"/>
                    <a:pt x="314172" y="198239"/>
                    <a:pt x="276685" y="198239"/>
                  </a:cubicBezTo>
                  <a:cubicBezTo>
                    <a:pt x="239199" y="198239"/>
                    <a:pt x="208853" y="164306"/>
                    <a:pt x="208853" y="122337"/>
                  </a:cubicBezTo>
                  <a:cubicBezTo>
                    <a:pt x="208853" y="97334"/>
                    <a:pt x="219563" y="74116"/>
                    <a:pt x="237414" y="60722"/>
                  </a:cubicBezTo>
                  <a:lnTo>
                    <a:pt x="191002" y="60722"/>
                  </a:lnTo>
                  <a:lnTo>
                    <a:pt x="191002" y="169664"/>
                  </a:lnTo>
                  <a:lnTo>
                    <a:pt x="191002" y="169664"/>
                  </a:lnTo>
                  <a:lnTo>
                    <a:pt x="191002" y="191988"/>
                  </a:lnTo>
                  <a:lnTo>
                    <a:pt x="170474" y="191988"/>
                  </a:lnTo>
                  <a:lnTo>
                    <a:pt x="170474" y="170557"/>
                  </a:lnTo>
                  <a:cubicBezTo>
                    <a:pt x="170474" y="170557"/>
                    <a:pt x="170474" y="169664"/>
                    <a:pt x="170474" y="169664"/>
                  </a:cubicBezTo>
                  <a:lnTo>
                    <a:pt x="170474" y="60722"/>
                  </a:lnTo>
                  <a:lnTo>
                    <a:pt x="152623" y="60722"/>
                  </a:lnTo>
                  <a:lnTo>
                    <a:pt x="152623" y="47327"/>
                  </a:lnTo>
                  <a:lnTo>
                    <a:pt x="171366" y="47327"/>
                  </a:lnTo>
                  <a:cubicBezTo>
                    <a:pt x="174044" y="19645"/>
                    <a:pt x="191002" y="3572"/>
                    <a:pt x="214208" y="3572"/>
                  </a:cubicBezTo>
                  <a:cubicBezTo>
                    <a:pt x="229381" y="3572"/>
                    <a:pt x="238306" y="5358"/>
                    <a:pt x="242769" y="7144"/>
                  </a:cubicBezTo>
                  <a:lnTo>
                    <a:pt x="242769" y="25896"/>
                  </a:lnTo>
                  <a:cubicBezTo>
                    <a:pt x="242769" y="27682"/>
                    <a:pt x="242769" y="28575"/>
                    <a:pt x="242769" y="28575"/>
                  </a:cubicBezTo>
                  <a:cubicBezTo>
                    <a:pt x="242769" y="28575"/>
                    <a:pt x="241876" y="28575"/>
                    <a:pt x="241876" y="28575"/>
                  </a:cubicBezTo>
                  <a:cubicBezTo>
                    <a:pt x="234736" y="21431"/>
                    <a:pt x="227596" y="16966"/>
                    <a:pt x="209745" y="16966"/>
                  </a:cubicBezTo>
                  <a:cubicBezTo>
                    <a:pt x="196357" y="16966"/>
                    <a:pt x="187432" y="27682"/>
                    <a:pt x="190110" y="47327"/>
                  </a:cubicBezTo>
                  <a:lnTo>
                    <a:pt x="266867" y="47327"/>
                  </a:lnTo>
                  <a:cubicBezTo>
                    <a:pt x="270438" y="46434"/>
                    <a:pt x="273115" y="46434"/>
                    <a:pt x="276685" y="46434"/>
                  </a:cubicBezTo>
                  <a:cubicBezTo>
                    <a:pt x="304354" y="46434"/>
                    <a:pt x="327560" y="64294"/>
                    <a:pt x="338270" y="90190"/>
                  </a:cubicBezTo>
                  <a:cubicBezTo>
                    <a:pt x="338270" y="88404"/>
                    <a:pt x="338270" y="87511"/>
                    <a:pt x="338270" y="85725"/>
                  </a:cubicBezTo>
                  <a:cubicBezTo>
                    <a:pt x="338270" y="58936"/>
                    <a:pt x="364153" y="47327"/>
                    <a:pt x="391822" y="47327"/>
                  </a:cubicBezTo>
                  <a:cubicBezTo>
                    <a:pt x="392715" y="47327"/>
                    <a:pt x="393607" y="47327"/>
                    <a:pt x="394500" y="47327"/>
                  </a:cubicBezTo>
                  <a:cubicBezTo>
                    <a:pt x="404317" y="47327"/>
                    <a:pt x="417705" y="50006"/>
                    <a:pt x="425738" y="52685"/>
                  </a:cubicBezTo>
                  <a:lnTo>
                    <a:pt x="432878" y="71438"/>
                  </a:lnTo>
                  <a:lnTo>
                    <a:pt x="441804" y="92869"/>
                  </a:lnTo>
                  <a:lnTo>
                    <a:pt x="465010" y="149126"/>
                  </a:lnTo>
                  <a:lnTo>
                    <a:pt x="467687" y="158055"/>
                  </a:lnTo>
                  <a:lnTo>
                    <a:pt x="470365" y="149126"/>
                  </a:lnTo>
                  <a:lnTo>
                    <a:pt x="499818" y="76795"/>
                  </a:lnTo>
                  <a:cubicBezTo>
                    <a:pt x="505174" y="57150"/>
                    <a:pt x="526594" y="48220"/>
                    <a:pt x="549800" y="48220"/>
                  </a:cubicBezTo>
                  <a:cubicBezTo>
                    <a:pt x="561403" y="48220"/>
                    <a:pt x="570329" y="50006"/>
                    <a:pt x="580146" y="53578"/>
                  </a:cubicBezTo>
                  <a:lnTo>
                    <a:pt x="580146" y="75009"/>
                  </a:lnTo>
                  <a:cubicBezTo>
                    <a:pt x="567651" y="66080"/>
                    <a:pt x="557833" y="60722"/>
                    <a:pt x="543553" y="60722"/>
                  </a:cubicBezTo>
                  <a:cubicBezTo>
                    <a:pt x="531057" y="60722"/>
                    <a:pt x="515884" y="66080"/>
                    <a:pt x="515884" y="84832"/>
                  </a:cubicBezTo>
                  <a:cubicBezTo>
                    <a:pt x="515884" y="99120"/>
                    <a:pt x="523917" y="101798"/>
                    <a:pt x="548908" y="113407"/>
                  </a:cubicBezTo>
                  <a:cubicBezTo>
                    <a:pt x="569436" y="122337"/>
                    <a:pt x="588179" y="132159"/>
                    <a:pt x="588179" y="154484"/>
                  </a:cubicBezTo>
                  <a:cubicBezTo>
                    <a:pt x="588179" y="191988"/>
                    <a:pt x="550693" y="198239"/>
                    <a:pt x="532842" y="199132"/>
                  </a:cubicBezTo>
                  <a:cubicBezTo>
                    <a:pt x="516777" y="199132"/>
                    <a:pt x="501604" y="195560"/>
                    <a:pt x="493571" y="188416"/>
                  </a:cubicBezTo>
                  <a:lnTo>
                    <a:pt x="493571" y="163413"/>
                  </a:lnTo>
                  <a:lnTo>
                    <a:pt x="494463" y="164306"/>
                  </a:lnTo>
                  <a:cubicBezTo>
                    <a:pt x="508744" y="177701"/>
                    <a:pt x="522132" y="184845"/>
                    <a:pt x="539090" y="184845"/>
                  </a:cubicBezTo>
                  <a:cubicBezTo>
                    <a:pt x="556048" y="184845"/>
                    <a:pt x="570329" y="176808"/>
                    <a:pt x="570329" y="161627"/>
                  </a:cubicBezTo>
                  <a:cubicBezTo>
                    <a:pt x="570329" y="148233"/>
                    <a:pt x="558726" y="141089"/>
                    <a:pt x="538197" y="132159"/>
                  </a:cubicBezTo>
                  <a:cubicBezTo>
                    <a:pt x="518562" y="123230"/>
                    <a:pt x="506066" y="117872"/>
                    <a:pt x="500711" y="103584"/>
                  </a:cubicBezTo>
                  <a:cubicBezTo>
                    <a:pt x="492678" y="123230"/>
                    <a:pt x="455192" y="213419"/>
                    <a:pt x="447159" y="233065"/>
                  </a:cubicBezTo>
                  <a:lnTo>
                    <a:pt x="427523" y="233065"/>
                  </a:lnTo>
                  <a:lnTo>
                    <a:pt x="431986" y="224135"/>
                  </a:lnTo>
                  <a:lnTo>
                    <a:pt x="436449" y="216099"/>
                  </a:lnTo>
                  <a:lnTo>
                    <a:pt x="436449" y="216099"/>
                  </a:lnTo>
                  <a:cubicBezTo>
                    <a:pt x="441804" y="206276"/>
                    <a:pt x="448944" y="191095"/>
                    <a:pt x="455192" y="175915"/>
                  </a:cubicBezTo>
                  <a:lnTo>
                    <a:pt x="416813" y="83046"/>
                  </a:lnTo>
                  <a:cubicBezTo>
                    <a:pt x="416813" y="82153"/>
                    <a:pt x="415920" y="81260"/>
                    <a:pt x="415028" y="77688"/>
                  </a:cubicBezTo>
                  <a:cubicBezTo>
                    <a:pt x="412350" y="70544"/>
                    <a:pt x="409673" y="64294"/>
                    <a:pt x="400747" y="61615"/>
                  </a:cubicBezTo>
                  <a:cubicBezTo>
                    <a:pt x="396285" y="59829"/>
                    <a:pt x="391822" y="58936"/>
                    <a:pt x="385574" y="58936"/>
                  </a:cubicBezTo>
                  <a:cubicBezTo>
                    <a:pt x="373079" y="58936"/>
                    <a:pt x="357013" y="64294"/>
                    <a:pt x="357013" y="83046"/>
                  </a:cubicBezTo>
                  <a:cubicBezTo>
                    <a:pt x="357013" y="97334"/>
                    <a:pt x="365939" y="100012"/>
                    <a:pt x="390929" y="111621"/>
                  </a:cubicBezTo>
                  <a:cubicBezTo>
                    <a:pt x="411458" y="120551"/>
                    <a:pt x="430201" y="130373"/>
                    <a:pt x="430201" y="152698"/>
                  </a:cubicBezTo>
                  <a:cubicBezTo>
                    <a:pt x="430201" y="190202"/>
                    <a:pt x="392715" y="196453"/>
                    <a:pt x="374864" y="197346"/>
                  </a:cubicBezTo>
                  <a:cubicBezTo>
                    <a:pt x="360583" y="197346"/>
                    <a:pt x="347195" y="193774"/>
                    <a:pt x="338270" y="188416"/>
                  </a:cubicBezTo>
                  <a:lnTo>
                    <a:pt x="338270" y="165199"/>
                  </a:lnTo>
                  <a:close/>
                  <a:moveTo>
                    <a:pt x="434664" y="70544"/>
                  </a:moveTo>
                  <a:cubicBezTo>
                    <a:pt x="434664" y="71438"/>
                    <a:pt x="435556" y="72331"/>
                    <a:pt x="435556" y="73223"/>
                  </a:cubicBezTo>
                  <a:lnTo>
                    <a:pt x="443589" y="91976"/>
                  </a:lnTo>
                  <a:lnTo>
                    <a:pt x="434664" y="70544"/>
                  </a:lnTo>
                  <a:close/>
                  <a:moveTo>
                    <a:pt x="432878" y="224135"/>
                  </a:moveTo>
                  <a:cubicBezTo>
                    <a:pt x="433771" y="222349"/>
                    <a:pt x="435556" y="219670"/>
                    <a:pt x="437341" y="216099"/>
                  </a:cubicBezTo>
                  <a:lnTo>
                    <a:pt x="432878" y="224135"/>
                  </a:lnTo>
                  <a:close/>
                  <a:moveTo>
                    <a:pt x="417705" y="83046"/>
                  </a:moveTo>
                  <a:cubicBezTo>
                    <a:pt x="418598" y="83939"/>
                    <a:pt x="416813" y="81260"/>
                    <a:pt x="416813" y="81260"/>
                  </a:cubicBezTo>
                  <a:lnTo>
                    <a:pt x="417705" y="83046"/>
                  </a:lnTo>
                  <a:close/>
                  <a:moveTo>
                    <a:pt x="230274" y="124123"/>
                  </a:moveTo>
                  <a:cubicBezTo>
                    <a:pt x="231166" y="158055"/>
                    <a:pt x="252587" y="185738"/>
                    <a:pt x="277578" y="184845"/>
                  </a:cubicBezTo>
                  <a:cubicBezTo>
                    <a:pt x="303461" y="183952"/>
                    <a:pt x="323990" y="156270"/>
                    <a:pt x="323097" y="122337"/>
                  </a:cubicBezTo>
                  <a:cubicBezTo>
                    <a:pt x="322204" y="88404"/>
                    <a:pt x="300784" y="60722"/>
                    <a:pt x="275793" y="61615"/>
                  </a:cubicBezTo>
                  <a:cubicBezTo>
                    <a:pt x="249909" y="61615"/>
                    <a:pt x="229381" y="90190"/>
                    <a:pt x="230274" y="124123"/>
                  </a:cubicBezTo>
                  <a:moveTo>
                    <a:pt x="0" y="26789"/>
                  </a:moveTo>
                  <a:lnTo>
                    <a:pt x="0" y="26789"/>
                  </a:lnTo>
                  <a:lnTo>
                    <a:pt x="0" y="4465"/>
                  </a:lnTo>
                  <a:lnTo>
                    <a:pt x="22313" y="4465"/>
                  </a:lnTo>
                  <a:lnTo>
                    <a:pt x="22313" y="26789"/>
                  </a:lnTo>
                  <a:lnTo>
                    <a:pt x="22313" y="26789"/>
                  </a:lnTo>
                  <a:lnTo>
                    <a:pt x="22313" y="169664"/>
                  </a:lnTo>
                  <a:lnTo>
                    <a:pt x="22313" y="170557"/>
                  </a:lnTo>
                  <a:lnTo>
                    <a:pt x="22313" y="192881"/>
                  </a:lnTo>
                  <a:lnTo>
                    <a:pt x="0" y="192881"/>
                  </a:lnTo>
                  <a:lnTo>
                    <a:pt x="0" y="170557"/>
                  </a:lnTo>
                  <a:lnTo>
                    <a:pt x="0" y="170557"/>
                  </a:lnTo>
                  <a:lnTo>
                    <a:pt x="0" y="26789"/>
                  </a:lnTo>
                  <a:close/>
                  <a:moveTo>
                    <a:pt x="610493" y="11609"/>
                  </a:moveTo>
                  <a:lnTo>
                    <a:pt x="614955" y="11609"/>
                  </a:lnTo>
                  <a:cubicBezTo>
                    <a:pt x="616740" y="11609"/>
                    <a:pt x="618525" y="12502"/>
                    <a:pt x="618525" y="14288"/>
                  </a:cubicBezTo>
                  <a:cubicBezTo>
                    <a:pt x="618525" y="16073"/>
                    <a:pt x="616740" y="16966"/>
                    <a:pt x="615848" y="16966"/>
                  </a:cubicBezTo>
                  <a:lnTo>
                    <a:pt x="611385" y="16966"/>
                  </a:lnTo>
                  <a:lnTo>
                    <a:pt x="611385" y="11609"/>
                  </a:lnTo>
                  <a:close/>
                  <a:moveTo>
                    <a:pt x="606922" y="28575"/>
                  </a:moveTo>
                  <a:lnTo>
                    <a:pt x="610493" y="28575"/>
                  </a:lnTo>
                  <a:lnTo>
                    <a:pt x="610493" y="20538"/>
                  </a:lnTo>
                  <a:lnTo>
                    <a:pt x="614955" y="20538"/>
                  </a:lnTo>
                  <a:lnTo>
                    <a:pt x="618525" y="28575"/>
                  </a:lnTo>
                  <a:lnTo>
                    <a:pt x="622988" y="28575"/>
                  </a:lnTo>
                  <a:lnTo>
                    <a:pt x="619418" y="19645"/>
                  </a:lnTo>
                  <a:cubicBezTo>
                    <a:pt x="620310" y="18752"/>
                    <a:pt x="622988" y="17859"/>
                    <a:pt x="622988" y="14288"/>
                  </a:cubicBezTo>
                  <a:cubicBezTo>
                    <a:pt x="622988" y="8037"/>
                    <a:pt x="618525" y="8037"/>
                    <a:pt x="614955" y="8037"/>
                  </a:cubicBezTo>
                  <a:lnTo>
                    <a:pt x="607815" y="8037"/>
                  </a:lnTo>
                  <a:lnTo>
                    <a:pt x="607815" y="28575"/>
                  </a:lnTo>
                  <a:close/>
                  <a:moveTo>
                    <a:pt x="597105" y="18752"/>
                  </a:moveTo>
                  <a:cubicBezTo>
                    <a:pt x="597105" y="9823"/>
                    <a:pt x="604245" y="2679"/>
                    <a:pt x="613170" y="2679"/>
                  </a:cubicBezTo>
                  <a:cubicBezTo>
                    <a:pt x="622095" y="2679"/>
                    <a:pt x="629236" y="9823"/>
                    <a:pt x="629236" y="18752"/>
                  </a:cubicBezTo>
                  <a:cubicBezTo>
                    <a:pt x="629236" y="27682"/>
                    <a:pt x="622095" y="34826"/>
                    <a:pt x="613170" y="34826"/>
                  </a:cubicBezTo>
                  <a:cubicBezTo>
                    <a:pt x="605137" y="34826"/>
                    <a:pt x="597105" y="27682"/>
                    <a:pt x="597105" y="18752"/>
                  </a:cubicBezTo>
                  <a:moveTo>
                    <a:pt x="614063" y="37505"/>
                  </a:moveTo>
                  <a:cubicBezTo>
                    <a:pt x="624773" y="37505"/>
                    <a:pt x="632806" y="28575"/>
                    <a:pt x="632806" y="18752"/>
                  </a:cubicBezTo>
                  <a:cubicBezTo>
                    <a:pt x="632806" y="8037"/>
                    <a:pt x="623881" y="0"/>
                    <a:pt x="614063" y="0"/>
                  </a:cubicBezTo>
                  <a:cubicBezTo>
                    <a:pt x="603352" y="0"/>
                    <a:pt x="595319" y="8930"/>
                    <a:pt x="595319" y="18752"/>
                  </a:cubicBezTo>
                  <a:cubicBezTo>
                    <a:pt x="594427" y="29468"/>
                    <a:pt x="603352" y="37505"/>
                    <a:pt x="614063" y="37505"/>
                  </a:cubicBezTo>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nvGrpSpPr>
            <p:cNvPr id="47" name="Graphic 84">
              <a:extLst>
                <a:ext uri="{FF2B5EF4-FFF2-40B4-BE49-F238E27FC236}">
                  <a16:creationId xmlns:a16="http://schemas.microsoft.com/office/drawing/2014/main" id="{BCB83E49-85E5-7F4F-9DC1-D52BDA5A6ECA}"/>
                </a:ext>
              </a:extLst>
            </p:cNvPr>
            <p:cNvGrpSpPr/>
            <p:nvPr/>
          </p:nvGrpSpPr>
          <p:grpSpPr>
            <a:xfrm>
              <a:off x="1419730" y="6214447"/>
              <a:ext cx="1074563" cy="136489"/>
              <a:chOff x="2068891" y="2157412"/>
              <a:chExt cx="1026412" cy="130373"/>
            </a:xfrm>
            <a:solidFill>
              <a:srgbClr val="FFFFFF"/>
            </a:solidFill>
          </p:grpSpPr>
          <p:sp>
            <p:nvSpPr>
              <p:cNvPr id="49" name="Freeform 48">
                <a:extLst>
                  <a:ext uri="{FF2B5EF4-FFF2-40B4-BE49-F238E27FC236}">
                    <a16:creationId xmlns:a16="http://schemas.microsoft.com/office/drawing/2014/main" id="{F78DB15C-2FF8-8E47-A8E1-5F867A1A4A74}"/>
                  </a:ext>
                </a:extLst>
              </p:cNvPr>
              <p:cNvSpPr/>
              <p:nvPr/>
            </p:nvSpPr>
            <p:spPr>
              <a:xfrm>
                <a:off x="2068891" y="2157412"/>
                <a:ext cx="97286" cy="129480"/>
              </a:xfrm>
              <a:custGeom>
                <a:avLst/>
                <a:gdLst>
                  <a:gd name="connsiteX0" fmla="*/ 96394 w 97286"/>
                  <a:gd name="connsiteY0" fmla="*/ 124123 h 129480"/>
                  <a:gd name="connsiteX1" fmla="*/ 64262 w 97286"/>
                  <a:gd name="connsiteY1" fmla="*/ 129480 h 129480"/>
                  <a:gd name="connsiteX2" fmla="*/ 0 w 97286"/>
                  <a:gd name="connsiteY2" fmla="*/ 66080 h 129480"/>
                  <a:gd name="connsiteX3" fmla="*/ 66940 w 97286"/>
                  <a:gd name="connsiteY3" fmla="*/ 0 h 129480"/>
                  <a:gd name="connsiteX4" fmla="*/ 97286 w 97286"/>
                  <a:gd name="connsiteY4" fmla="*/ 5358 h 129480"/>
                  <a:gd name="connsiteX5" fmla="*/ 91931 w 97286"/>
                  <a:gd name="connsiteY5" fmla="*/ 23217 h 129480"/>
                  <a:gd name="connsiteX6" fmla="*/ 67832 w 97286"/>
                  <a:gd name="connsiteY6" fmla="*/ 18752 h 129480"/>
                  <a:gd name="connsiteX7" fmla="*/ 24098 w 97286"/>
                  <a:gd name="connsiteY7" fmla="*/ 65187 h 129480"/>
                  <a:gd name="connsiteX8" fmla="*/ 67832 w 97286"/>
                  <a:gd name="connsiteY8" fmla="*/ 110728 h 129480"/>
                  <a:gd name="connsiteX9" fmla="*/ 92823 w 97286"/>
                  <a:gd name="connsiteY9" fmla="*/ 106263 h 129480"/>
                  <a:gd name="connsiteX10" fmla="*/ 96394 w 97286"/>
                  <a:gd name="connsiteY10" fmla="*/ 124123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9480">
                    <a:moveTo>
                      <a:pt x="96394" y="124123"/>
                    </a:moveTo>
                    <a:cubicBezTo>
                      <a:pt x="91038" y="126802"/>
                      <a:pt x="79435" y="129480"/>
                      <a:pt x="64262" y="129480"/>
                    </a:cubicBezTo>
                    <a:cubicBezTo>
                      <a:pt x="24098" y="129480"/>
                      <a:pt x="0" y="104477"/>
                      <a:pt x="0" y="66080"/>
                    </a:cubicBezTo>
                    <a:cubicBezTo>
                      <a:pt x="0" y="25003"/>
                      <a:pt x="28561" y="0"/>
                      <a:pt x="66940" y="0"/>
                    </a:cubicBezTo>
                    <a:cubicBezTo>
                      <a:pt x="82113" y="0"/>
                      <a:pt x="92823" y="3572"/>
                      <a:pt x="97286" y="5358"/>
                    </a:cubicBezTo>
                    <a:lnTo>
                      <a:pt x="91931" y="23217"/>
                    </a:lnTo>
                    <a:cubicBezTo>
                      <a:pt x="85683" y="20538"/>
                      <a:pt x="77650" y="18752"/>
                      <a:pt x="67832" y="18752"/>
                    </a:cubicBezTo>
                    <a:cubicBezTo>
                      <a:pt x="41949" y="18752"/>
                      <a:pt x="24098" y="34826"/>
                      <a:pt x="24098" y="65187"/>
                    </a:cubicBezTo>
                    <a:cubicBezTo>
                      <a:pt x="24098" y="92869"/>
                      <a:pt x="40164" y="110728"/>
                      <a:pt x="67832" y="110728"/>
                    </a:cubicBezTo>
                    <a:cubicBezTo>
                      <a:pt x="76758" y="110728"/>
                      <a:pt x="86576" y="108942"/>
                      <a:pt x="92823" y="106263"/>
                    </a:cubicBezTo>
                    <a:lnTo>
                      <a:pt x="96394" y="124123"/>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0" name="Freeform 49">
                <a:extLst>
                  <a:ext uri="{FF2B5EF4-FFF2-40B4-BE49-F238E27FC236}">
                    <a16:creationId xmlns:a16="http://schemas.microsoft.com/office/drawing/2014/main" id="{76C5A5E5-26DF-004F-88C6-3897424312D9}"/>
                  </a:ext>
                </a:extLst>
              </p:cNvPr>
              <p:cNvSpPr/>
              <p:nvPr/>
            </p:nvSpPr>
            <p:spPr>
              <a:xfrm>
                <a:off x="2175102" y="2159177"/>
                <a:ext cx="117814" cy="128608"/>
              </a:xfrm>
              <a:custGeom>
                <a:avLst/>
                <a:gdLst>
                  <a:gd name="connsiteX0" fmla="*/ 117814 w 117814"/>
                  <a:gd name="connsiteY0" fmla="*/ 62529 h 128608"/>
                  <a:gd name="connsiteX1" fmla="*/ 58015 w 117814"/>
                  <a:gd name="connsiteY1" fmla="*/ 128609 h 128608"/>
                  <a:gd name="connsiteX2" fmla="*/ 0 w 117814"/>
                  <a:gd name="connsiteY2" fmla="*/ 65208 h 128608"/>
                  <a:gd name="connsiteX3" fmla="*/ 59800 w 117814"/>
                  <a:gd name="connsiteY3" fmla="*/ 21 h 128608"/>
                  <a:gd name="connsiteX4" fmla="*/ 117814 w 117814"/>
                  <a:gd name="connsiteY4" fmla="*/ 62529 h 128608"/>
                  <a:gd name="connsiteX5" fmla="*/ 24098 w 117814"/>
                  <a:gd name="connsiteY5" fmla="*/ 64315 h 128608"/>
                  <a:gd name="connsiteX6" fmla="*/ 58907 w 117814"/>
                  <a:gd name="connsiteY6" fmla="*/ 109856 h 128608"/>
                  <a:gd name="connsiteX7" fmla="*/ 93716 w 117814"/>
                  <a:gd name="connsiteY7" fmla="*/ 63422 h 128608"/>
                  <a:gd name="connsiteX8" fmla="*/ 58907 w 117814"/>
                  <a:gd name="connsiteY8" fmla="*/ 16987 h 128608"/>
                  <a:gd name="connsiteX9" fmla="*/ 24098 w 117814"/>
                  <a:gd name="connsiteY9" fmla="*/ 64315 h 1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14" h="128608">
                    <a:moveTo>
                      <a:pt x="117814" y="62529"/>
                    </a:moveTo>
                    <a:cubicBezTo>
                      <a:pt x="117814" y="104498"/>
                      <a:pt x="91931" y="128609"/>
                      <a:pt x="58015" y="128609"/>
                    </a:cubicBezTo>
                    <a:cubicBezTo>
                      <a:pt x="22313" y="128609"/>
                      <a:pt x="0" y="101819"/>
                      <a:pt x="0" y="65208"/>
                    </a:cubicBezTo>
                    <a:cubicBezTo>
                      <a:pt x="0" y="26810"/>
                      <a:pt x="24098" y="21"/>
                      <a:pt x="59800" y="21"/>
                    </a:cubicBezTo>
                    <a:cubicBezTo>
                      <a:pt x="95501" y="-872"/>
                      <a:pt x="117814" y="26810"/>
                      <a:pt x="117814" y="62529"/>
                    </a:cubicBezTo>
                    <a:close/>
                    <a:moveTo>
                      <a:pt x="24098" y="64315"/>
                    </a:moveTo>
                    <a:cubicBezTo>
                      <a:pt x="24098" y="90211"/>
                      <a:pt x="36594" y="109856"/>
                      <a:pt x="58907" y="109856"/>
                    </a:cubicBezTo>
                    <a:cubicBezTo>
                      <a:pt x="81221" y="109856"/>
                      <a:pt x="93716" y="89318"/>
                      <a:pt x="93716" y="63422"/>
                    </a:cubicBezTo>
                    <a:cubicBezTo>
                      <a:pt x="93716" y="40205"/>
                      <a:pt x="82113" y="16987"/>
                      <a:pt x="58907" y="16987"/>
                    </a:cubicBezTo>
                    <a:cubicBezTo>
                      <a:pt x="35701" y="16987"/>
                      <a:pt x="24098" y="38419"/>
                      <a:pt x="24098" y="64315"/>
                    </a:cubicBez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1" name="Freeform 50">
                <a:extLst>
                  <a:ext uri="{FF2B5EF4-FFF2-40B4-BE49-F238E27FC236}">
                    <a16:creationId xmlns:a16="http://schemas.microsoft.com/office/drawing/2014/main" id="{1CF3CD52-BA38-4948-AA89-995297A02607}"/>
                  </a:ext>
                </a:extLst>
              </p:cNvPr>
              <p:cNvSpPr/>
              <p:nvPr/>
            </p:nvSpPr>
            <p:spPr>
              <a:xfrm>
                <a:off x="2308982" y="2160091"/>
                <a:ext cx="99070" cy="125015"/>
              </a:xfrm>
              <a:custGeom>
                <a:avLst/>
                <a:gdLst>
                  <a:gd name="connsiteX0" fmla="*/ 0 w 99070"/>
                  <a:gd name="connsiteY0" fmla="*/ 125016 h 125015"/>
                  <a:gd name="connsiteX1" fmla="*/ 0 w 99070"/>
                  <a:gd name="connsiteY1" fmla="*/ 0 h 125015"/>
                  <a:gd name="connsiteX2" fmla="*/ 25883 w 99070"/>
                  <a:gd name="connsiteY2" fmla="*/ 0 h 125015"/>
                  <a:gd name="connsiteX3" fmla="*/ 58015 w 99070"/>
                  <a:gd name="connsiteY3" fmla="*/ 53578 h 125015"/>
                  <a:gd name="connsiteX4" fmla="*/ 79435 w 99070"/>
                  <a:gd name="connsiteY4" fmla="*/ 95548 h 125015"/>
                  <a:gd name="connsiteX5" fmla="*/ 79435 w 99070"/>
                  <a:gd name="connsiteY5" fmla="*/ 95548 h 125015"/>
                  <a:gd name="connsiteX6" fmla="*/ 77650 w 99070"/>
                  <a:gd name="connsiteY6" fmla="*/ 43756 h 125015"/>
                  <a:gd name="connsiteX7" fmla="*/ 77650 w 99070"/>
                  <a:gd name="connsiteY7" fmla="*/ 0 h 125015"/>
                  <a:gd name="connsiteX8" fmla="*/ 99071 w 99070"/>
                  <a:gd name="connsiteY8" fmla="*/ 0 h 125015"/>
                  <a:gd name="connsiteX9" fmla="*/ 99071 w 99070"/>
                  <a:gd name="connsiteY9" fmla="*/ 125016 h 125015"/>
                  <a:gd name="connsiteX10" fmla="*/ 75865 w 99070"/>
                  <a:gd name="connsiteY10" fmla="*/ 125016 h 125015"/>
                  <a:gd name="connsiteX11" fmla="*/ 42841 w 99070"/>
                  <a:gd name="connsiteY11" fmla="*/ 69652 h 125015"/>
                  <a:gd name="connsiteX12" fmla="*/ 20528 w 99070"/>
                  <a:gd name="connsiteY12" fmla="*/ 26789 h 125015"/>
                  <a:gd name="connsiteX13" fmla="*/ 19636 w 99070"/>
                  <a:gd name="connsiteY13" fmla="*/ 26789 h 125015"/>
                  <a:gd name="connsiteX14" fmla="*/ 20528 w 99070"/>
                  <a:gd name="connsiteY14" fmla="*/ 80367 h 125015"/>
                  <a:gd name="connsiteX15" fmla="*/ 20528 w 99070"/>
                  <a:gd name="connsiteY15" fmla="*/ 125016 h 125015"/>
                  <a:gd name="connsiteX16" fmla="*/ 0 w 99070"/>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0" h="125015">
                    <a:moveTo>
                      <a:pt x="0" y="125016"/>
                    </a:moveTo>
                    <a:lnTo>
                      <a:pt x="0" y="0"/>
                    </a:lnTo>
                    <a:lnTo>
                      <a:pt x="25883" y="0"/>
                    </a:lnTo>
                    <a:lnTo>
                      <a:pt x="58015" y="53578"/>
                    </a:lnTo>
                    <a:cubicBezTo>
                      <a:pt x="66047" y="67866"/>
                      <a:pt x="73188" y="82153"/>
                      <a:pt x="79435" y="95548"/>
                    </a:cubicBezTo>
                    <a:lnTo>
                      <a:pt x="79435" y="95548"/>
                    </a:lnTo>
                    <a:cubicBezTo>
                      <a:pt x="77650" y="78581"/>
                      <a:pt x="77650" y="62508"/>
                      <a:pt x="77650" y="43756"/>
                    </a:cubicBezTo>
                    <a:lnTo>
                      <a:pt x="77650" y="0"/>
                    </a:lnTo>
                    <a:lnTo>
                      <a:pt x="99071" y="0"/>
                    </a:lnTo>
                    <a:lnTo>
                      <a:pt x="99071" y="125016"/>
                    </a:lnTo>
                    <a:lnTo>
                      <a:pt x="75865" y="125016"/>
                    </a:lnTo>
                    <a:lnTo>
                      <a:pt x="42841"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2" name="Freeform 51">
                <a:extLst>
                  <a:ext uri="{FF2B5EF4-FFF2-40B4-BE49-F238E27FC236}">
                    <a16:creationId xmlns:a16="http://schemas.microsoft.com/office/drawing/2014/main" id="{14F85FE3-1AE7-C940-B7EA-C0AFB994B180}"/>
                  </a:ext>
                </a:extLst>
              </p:cNvPr>
              <p:cNvSpPr/>
              <p:nvPr/>
            </p:nvSpPr>
            <p:spPr>
              <a:xfrm>
                <a:off x="2426797" y="2158305"/>
                <a:ext cx="81220" cy="129480"/>
              </a:xfrm>
              <a:custGeom>
                <a:avLst/>
                <a:gdLst>
                  <a:gd name="connsiteX0" fmla="*/ 3570 w 81220"/>
                  <a:gd name="connsiteY0" fmla="*/ 101799 h 129480"/>
                  <a:gd name="connsiteX1" fmla="*/ 33916 w 81220"/>
                  <a:gd name="connsiteY1" fmla="*/ 109835 h 129480"/>
                  <a:gd name="connsiteX2" fmla="*/ 57122 w 81220"/>
                  <a:gd name="connsiteY2" fmla="*/ 92869 h 129480"/>
                  <a:gd name="connsiteX3" fmla="*/ 34809 w 81220"/>
                  <a:gd name="connsiteY3" fmla="*/ 72331 h 129480"/>
                  <a:gd name="connsiteX4" fmla="*/ 893 w 81220"/>
                  <a:gd name="connsiteY4" fmla="*/ 35719 h 129480"/>
                  <a:gd name="connsiteX5" fmla="*/ 45519 w 81220"/>
                  <a:gd name="connsiteY5" fmla="*/ 0 h 129480"/>
                  <a:gd name="connsiteX6" fmla="*/ 75865 w 81220"/>
                  <a:gd name="connsiteY6" fmla="*/ 6251 h 129480"/>
                  <a:gd name="connsiteX7" fmla="*/ 70510 w 81220"/>
                  <a:gd name="connsiteY7" fmla="*/ 25003 h 129480"/>
                  <a:gd name="connsiteX8" fmla="*/ 45519 w 81220"/>
                  <a:gd name="connsiteY8" fmla="*/ 18752 h 129480"/>
                  <a:gd name="connsiteX9" fmla="*/ 24991 w 81220"/>
                  <a:gd name="connsiteY9" fmla="*/ 33933 h 129480"/>
                  <a:gd name="connsiteX10" fmla="*/ 49089 w 81220"/>
                  <a:gd name="connsiteY10" fmla="*/ 54471 h 129480"/>
                  <a:gd name="connsiteX11" fmla="*/ 81221 w 81220"/>
                  <a:gd name="connsiteY11" fmla="*/ 91976 h 129480"/>
                  <a:gd name="connsiteX12" fmla="*/ 33916 w 81220"/>
                  <a:gd name="connsiteY12" fmla="*/ 129481 h 129480"/>
                  <a:gd name="connsiteX13" fmla="*/ 0 w 81220"/>
                  <a:gd name="connsiteY13" fmla="*/ 121444 h 129480"/>
                  <a:gd name="connsiteX14" fmla="*/ 3570 w 81220"/>
                  <a:gd name="connsiteY14" fmla="*/ 101799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20" h="129480">
                    <a:moveTo>
                      <a:pt x="3570" y="101799"/>
                    </a:moveTo>
                    <a:cubicBezTo>
                      <a:pt x="10711" y="106263"/>
                      <a:pt x="22313" y="109835"/>
                      <a:pt x="33916" y="109835"/>
                    </a:cubicBezTo>
                    <a:cubicBezTo>
                      <a:pt x="48197" y="109835"/>
                      <a:pt x="57122" y="102691"/>
                      <a:pt x="57122" y="92869"/>
                    </a:cubicBezTo>
                    <a:cubicBezTo>
                      <a:pt x="57122" y="83046"/>
                      <a:pt x="50874" y="77688"/>
                      <a:pt x="34809" y="72331"/>
                    </a:cubicBezTo>
                    <a:cubicBezTo>
                      <a:pt x="14281" y="65187"/>
                      <a:pt x="893" y="53578"/>
                      <a:pt x="893" y="35719"/>
                    </a:cubicBezTo>
                    <a:cubicBezTo>
                      <a:pt x="893" y="15180"/>
                      <a:pt x="17851" y="0"/>
                      <a:pt x="45519" y="0"/>
                    </a:cubicBezTo>
                    <a:cubicBezTo>
                      <a:pt x="58907" y="0"/>
                      <a:pt x="68725" y="2679"/>
                      <a:pt x="75865" y="6251"/>
                    </a:cubicBezTo>
                    <a:lnTo>
                      <a:pt x="70510" y="25003"/>
                    </a:lnTo>
                    <a:cubicBezTo>
                      <a:pt x="66047" y="22324"/>
                      <a:pt x="57122" y="18752"/>
                      <a:pt x="45519" y="18752"/>
                    </a:cubicBezTo>
                    <a:cubicBezTo>
                      <a:pt x="31239" y="18752"/>
                      <a:pt x="24991" y="26789"/>
                      <a:pt x="24991" y="33933"/>
                    </a:cubicBezTo>
                    <a:cubicBezTo>
                      <a:pt x="24991" y="43756"/>
                      <a:pt x="32131" y="48220"/>
                      <a:pt x="49089" y="54471"/>
                    </a:cubicBezTo>
                    <a:cubicBezTo>
                      <a:pt x="70510" y="62508"/>
                      <a:pt x="81221" y="73223"/>
                      <a:pt x="81221" y="91976"/>
                    </a:cubicBezTo>
                    <a:cubicBezTo>
                      <a:pt x="81221" y="111621"/>
                      <a:pt x="66047" y="129481"/>
                      <a:pt x="33916" y="129481"/>
                    </a:cubicBezTo>
                    <a:cubicBezTo>
                      <a:pt x="20528" y="129481"/>
                      <a:pt x="7140" y="125909"/>
                      <a:pt x="0" y="121444"/>
                    </a:cubicBezTo>
                    <a:lnTo>
                      <a:pt x="3570" y="101799"/>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3" name="Freeform 52">
                <a:extLst>
                  <a:ext uri="{FF2B5EF4-FFF2-40B4-BE49-F238E27FC236}">
                    <a16:creationId xmlns:a16="http://schemas.microsoft.com/office/drawing/2014/main" id="{B6925462-2A8C-6B4C-91E7-194230F5B027}"/>
                  </a:ext>
                </a:extLst>
              </p:cNvPr>
              <p:cNvSpPr/>
              <p:nvPr/>
            </p:nvSpPr>
            <p:spPr>
              <a:xfrm>
                <a:off x="2524975" y="2160091"/>
                <a:ext cx="97286" cy="126801"/>
              </a:xfrm>
              <a:custGeom>
                <a:avLst/>
                <a:gdLst>
                  <a:gd name="connsiteX0" fmla="*/ 21421 w 97286"/>
                  <a:gd name="connsiteY0" fmla="*/ 0 h 126801"/>
                  <a:gd name="connsiteX1" fmla="*/ 21421 w 97286"/>
                  <a:gd name="connsiteY1" fmla="*/ 73224 h 126801"/>
                  <a:gd name="connsiteX2" fmla="*/ 47304 w 97286"/>
                  <a:gd name="connsiteY2" fmla="*/ 108942 h 126801"/>
                  <a:gd name="connsiteX3" fmla="*/ 74080 w 97286"/>
                  <a:gd name="connsiteY3" fmla="*/ 73224 h 126801"/>
                  <a:gd name="connsiteX4" fmla="*/ 74080 w 97286"/>
                  <a:gd name="connsiteY4" fmla="*/ 0 h 126801"/>
                  <a:gd name="connsiteX5" fmla="*/ 97286 w 97286"/>
                  <a:gd name="connsiteY5" fmla="*/ 0 h 126801"/>
                  <a:gd name="connsiteX6" fmla="*/ 97286 w 97286"/>
                  <a:gd name="connsiteY6" fmla="*/ 71438 h 126801"/>
                  <a:gd name="connsiteX7" fmla="*/ 47304 w 97286"/>
                  <a:gd name="connsiteY7" fmla="*/ 126802 h 126801"/>
                  <a:gd name="connsiteX8" fmla="*/ 0 w 97286"/>
                  <a:gd name="connsiteY8" fmla="*/ 71438 h 126801"/>
                  <a:gd name="connsiteX9" fmla="*/ 0 w 97286"/>
                  <a:gd name="connsiteY9" fmla="*/ 0 h 126801"/>
                  <a:gd name="connsiteX10" fmla="*/ 21421 w 97286"/>
                  <a:gd name="connsiteY10" fmla="*/ 0 h 12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6801">
                    <a:moveTo>
                      <a:pt x="21421" y="0"/>
                    </a:moveTo>
                    <a:lnTo>
                      <a:pt x="21421" y="73224"/>
                    </a:lnTo>
                    <a:cubicBezTo>
                      <a:pt x="21421" y="97334"/>
                      <a:pt x="31239" y="108942"/>
                      <a:pt x="47304" y="108942"/>
                    </a:cubicBezTo>
                    <a:cubicBezTo>
                      <a:pt x="64262" y="108942"/>
                      <a:pt x="74080" y="97334"/>
                      <a:pt x="74080" y="73224"/>
                    </a:cubicBezTo>
                    <a:lnTo>
                      <a:pt x="74080" y="0"/>
                    </a:lnTo>
                    <a:lnTo>
                      <a:pt x="97286" y="0"/>
                    </a:lnTo>
                    <a:lnTo>
                      <a:pt x="97286" y="71438"/>
                    </a:lnTo>
                    <a:cubicBezTo>
                      <a:pt x="97286" y="109835"/>
                      <a:pt x="77650" y="126802"/>
                      <a:pt x="47304" y="126802"/>
                    </a:cubicBezTo>
                    <a:cubicBezTo>
                      <a:pt x="18743" y="126802"/>
                      <a:pt x="0" y="110728"/>
                      <a:pt x="0" y="71438"/>
                    </a:cubicBezTo>
                    <a:lnTo>
                      <a:pt x="0" y="0"/>
                    </a:lnTo>
                    <a:lnTo>
                      <a:pt x="21421"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4" name="Freeform 53">
                <a:extLst>
                  <a:ext uri="{FF2B5EF4-FFF2-40B4-BE49-F238E27FC236}">
                    <a16:creationId xmlns:a16="http://schemas.microsoft.com/office/drawing/2014/main" id="{57154D56-4ADD-454A-982F-B620F40A52A4}"/>
                  </a:ext>
                </a:extLst>
              </p:cNvPr>
              <p:cNvSpPr/>
              <p:nvPr/>
            </p:nvSpPr>
            <p:spPr>
              <a:xfrm>
                <a:off x="2644575" y="2160091"/>
                <a:ext cx="74972" cy="125015"/>
              </a:xfrm>
              <a:custGeom>
                <a:avLst/>
                <a:gdLst>
                  <a:gd name="connsiteX0" fmla="*/ 0 w 74972"/>
                  <a:gd name="connsiteY0" fmla="*/ 0 h 125015"/>
                  <a:gd name="connsiteX1" fmla="*/ 23206 w 74972"/>
                  <a:gd name="connsiteY1" fmla="*/ 0 h 125015"/>
                  <a:gd name="connsiteX2" fmla="*/ 23206 w 74972"/>
                  <a:gd name="connsiteY2" fmla="*/ 106263 h 125015"/>
                  <a:gd name="connsiteX3" fmla="*/ 74973 w 74972"/>
                  <a:gd name="connsiteY3" fmla="*/ 106263 h 125015"/>
                  <a:gd name="connsiteX4" fmla="*/ 74973 w 74972"/>
                  <a:gd name="connsiteY4" fmla="*/ 125016 h 125015"/>
                  <a:gd name="connsiteX5" fmla="*/ 893 w 74972"/>
                  <a:gd name="connsiteY5" fmla="*/ 125016 h 125015"/>
                  <a:gd name="connsiteX6" fmla="*/ 893 w 74972"/>
                  <a:gd name="connsiteY6" fmla="*/ 0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72" h="125015">
                    <a:moveTo>
                      <a:pt x="0" y="0"/>
                    </a:moveTo>
                    <a:lnTo>
                      <a:pt x="23206" y="0"/>
                    </a:lnTo>
                    <a:lnTo>
                      <a:pt x="23206" y="106263"/>
                    </a:lnTo>
                    <a:lnTo>
                      <a:pt x="74973" y="106263"/>
                    </a:lnTo>
                    <a:lnTo>
                      <a:pt x="74973" y="125016"/>
                    </a:lnTo>
                    <a:lnTo>
                      <a:pt x="893" y="125016"/>
                    </a:lnTo>
                    <a:lnTo>
                      <a:pt x="893"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5" name="Freeform 54">
                <a:extLst>
                  <a:ext uri="{FF2B5EF4-FFF2-40B4-BE49-F238E27FC236}">
                    <a16:creationId xmlns:a16="http://schemas.microsoft.com/office/drawing/2014/main" id="{87244790-380E-984F-A3D5-496A67DD494E}"/>
                  </a:ext>
                </a:extLst>
              </p:cNvPr>
              <p:cNvSpPr/>
              <p:nvPr/>
            </p:nvSpPr>
            <p:spPr>
              <a:xfrm>
                <a:off x="2720440" y="2160091"/>
                <a:ext cx="94608" cy="125015"/>
              </a:xfrm>
              <a:custGeom>
                <a:avLst/>
                <a:gdLst>
                  <a:gd name="connsiteX0" fmla="*/ 35701 w 94608"/>
                  <a:gd name="connsiteY0" fmla="*/ 18752 h 125015"/>
                  <a:gd name="connsiteX1" fmla="*/ 0 w 94608"/>
                  <a:gd name="connsiteY1" fmla="*/ 18752 h 125015"/>
                  <a:gd name="connsiteX2" fmla="*/ 0 w 94608"/>
                  <a:gd name="connsiteY2" fmla="*/ 0 h 125015"/>
                  <a:gd name="connsiteX3" fmla="*/ 94609 w 94608"/>
                  <a:gd name="connsiteY3" fmla="*/ 0 h 125015"/>
                  <a:gd name="connsiteX4" fmla="*/ 94609 w 94608"/>
                  <a:gd name="connsiteY4" fmla="*/ 18752 h 125015"/>
                  <a:gd name="connsiteX5" fmla="*/ 58907 w 94608"/>
                  <a:gd name="connsiteY5" fmla="*/ 18752 h 125015"/>
                  <a:gd name="connsiteX6" fmla="*/ 58907 w 94608"/>
                  <a:gd name="connsiteY6" fmla="*/ 125016 h 125015"/>
                  <a:gd name="connsiteX7" fmla="*/ 35701 w 94608"/>
                  <a:gd name="connsiteY7" fmla="*/ 125016 h 125015"/>
                  <a:gd name="connsiteX8" fmla="*/ 35701 w 94608"/>
                  <a:gd name="connsiteY8" fmla="*/ 18752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08" h="125015">
                    <a:moveTo>
                      <a:pt x="35701" y="18752"/>
                    </a:moveTo>
                    <a:lnTo>
                      <a:pt x="0" y="18752"/>
                    </a:lnTo>
                    <a:lnTo>
                      <a:pt x="0" y="0"/>
                    </a:lnTo>
                    <a:lnTo>
                      <a:pt x="94609" y="0"/>
                    </a:lnTo>
                    <a:lnTo>
                      <a:pt x="94609" y="18752"/>
                    </a:lnTo>
                    <a:lnTo>
                      <a:pt x="58907" y="18752"/>
                    </a:lnTo>
                    <a:lnTo>
                      <a:pt x="58907" y="125016"/>
                    </a:lnTo>
                    <a:lnTo>
                      <a:pt x="35701" y="125016"/>
                    </a:lnTo>
                    <a:lnTo>
                      <a:pt x="35701" y="18752"/>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6" name="Freeform 55">
                <a:extLst>
                  <a:ext uri="{FF2B5EF4-FFF2-40B4-BE49-F238E27FC236}">
                    <a16:creationId xmlns:a16="http://schemas.microsoft.com/office/drawing/2014/main" id="{638DAD91-1342-ED43-9A7F-030E4D9CA780}"/>
                  </a:ext>
                </a:extLst>
              </p:cNvPr>
              <p:cNvSpPr/>
              <p:nvPr/>
            </p:nvSpPr>
            <p:spPr>
              <a:xfrm>
                <a:off x="2826651" y="2160091"/>
                <a:ext cx="23205" cy="125015"/>
              </a:xfrm>
              <a:custGeom>
                <a:avLst/>
                <a:gdLst>
                  <a:gd name="connsiteX0" fmla="*/ 23206 w 23205"/>
                  <a:gd name="connsiteY0" fmla="*/ 0 h 125015"/>
                  <a:gd name="connsiteX1" fmla="*/ 23206 w 23205"/>
                  <a:gd name="connsiteY1" fmla="*/ 125016 h 125015"/>
                  <a:gd name="connsiteX2" fmla="*/ 0 w 23205"/>
                  <a:gd name="connsiteY2" fmla="*/ 125016 h 125015"/>
                  <a:gd name="connsiteX3" fmla="*/ 0 w 23205"/>
                  <a:gd name="connsiteY3" fmla="*/ 0 h 125015"/>
                  <a:gd name="connsiteX4" fmla="*/ 23206 w 23205"/>
                  <a:gd name="connsiteY4" fmla="*/ 0 h 125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5" h="125015">
                    <a:moveTo>
                      <a:pt x="23206" y="0"/>
                    </a:moveTo>
                    <a:lnTo>
                      <a:pt x="23206" y="125016"/>
                    </a:lnTo>
                    <a:lnTo>
                      <a:pt x="0" y="125016"/>
                    </a:lnTo>
                    <a:lnTo>
                      <a:pt x="0" y="0"/>
                    </a:lnTo>
                    <a:lnTo>
                      <a:pt x="23206" y="0"/>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7" name="Freeform 56">
                <a:extLst>
                  <a:ext uri="{FF2B5EF4-FFF2-40B4-BE49-F238E27FC236}">
                    <a16:creationId xmlns:a16="http://schemas.microsoft.com/office/drawing/2014/main" id="{5379CD9A-FECF-6840-82D0-35533419A6E5}"/>
                  </a:ext>
                </a:extLst>
              </p:cNvPr>
              <p:cNvSpPr/>
              <p:nvPr/>
            </p:nvSpPr>
            <p:spPr>
              <a:xfrm>
                <a:off x="2872170" y="2160091"/>
                <a:ext cx="99071" cy="125015"/>
              </a:xfrm>
              <a:custGeom>
                <a:avLst/>
                <a:gdLst>
                  <a:gd name="connsiteX0" fmla="*/ 0 w 99071"/>
                  <a:gd name="connsiteY0" fmla="*/ 125016 h 125015"/>
                  <a:gd name="connsiteX1" fmla="*/ 0 w 99071"/>
                  <a:gd name="connsiteY1" fmla="*/ 0 h 125015"/>
                  <a:gd name="connsiteX2" fmla="*/ 25884 w 99071"/>
                  <a:gd name="connsiteY2" fmla="*/ 0 h 125015"/>
                  <a:gd name="connsiteX3" fmla="*/ 58015 w 99071"/>
                  <a:gd name="connsiteY3" fmla="*/ 53578 h 125015"/>
                  <a:gd name="connsiteX4" fmla="*/ 79436 w 99071"/>
                  <a:gd name="connsiteY4" fmla="*/ 95548 h 125015"/>
                  <a:gd name="connsiteX5" fmla="*/ 79436 w 99071"/>
                  <a:gd name="connsiteY5" fmla="*/ 95548 h 125015"/>
                  <a:gd name="connsiteX6" fmla="*/ 77650 w 99071"/>
                  <a:gd name="connsiteY6" fmla="*/ 43756 h 125015"/>
                  <a:gd name="connsiteX7" fmla="*/ 77650 w 99071"/>
                  <a:gd name="connsiteY7" fmla="*/ 0 h 125015"/>
                  <a:gd name="connsiteX8" fmla="*/ 99071 w 99071"/>
                  <a:gd name="connsiteY8" fmla="*/ 0 h 125015"/>
                  <a:gd name="connsiteX9" fmla="*/ 99071 w 99071"/>
                  <a:gd name="connsiteY9" fmla="*/ 125016 h 125015"/>
                  <a:gd name="connsiteX10" fmla="*/ 75865 w 99071"/>
                  <a:gd name="connsiteY10" fmla="*/ 125016 h 125015"/>
                  <a:gd name="connsiteX11" fmla="*/ 42842 w 99071"/>
                  <a:gd name="connsiteY11" fmla="*/ 69652 h 125015"/>
                  <a:gd name="connsiteX12" fmla="*/ 20528 w 99071"/>
                  <a:gd name="connsiteY12" fmla="*/ 26789 h 125015"/>
                  <a:gd name="connsiteX13" fmla="*/ 19636 w 99071"/>
                  <a:gd name="connsiteY13" fmla="*/ 26789 h 125015"/>
                  <a:gd name="connsiteX14" fmla="*/ 20528 w 99071"/>
                  <a:gd name="connsiteY14" fmla="*/ 80367 h 125015"/>
                  <a:gd name="connsiteX15" fmla="*/ 20528 w 99071"/>
                  <a:gd name="connsiteY15" fmla="*/ 125016 h 125015"/>
                  <a:gd name="connsiteX16" fmla="*/ 0 w 99071"/>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1" h="125015">
                    <a:moveTo>
                      <a:pt x="0" y="125016"/>
                    </a:moveTo>
                    <a:lnTo>
                      <a:pt x="0" y="0"/>
                    </a:lnTo>
                    <a:lnTo>
                      <a:pt x="25884" y="0"/>
                    </a:lnTo>
                    <a:lnTo>
                      <a:pt x="58015" y="53578"/>
                    </a:lnTo>
                    <a:cubicBezTo>
                      <a:pt x="66048" y="67866"/>
                      <a:pt x="73188" y="82153"/>
                      <a:pt x="79436" y="95548"/>
                    </a:cubicBezTo>
                    <a:lnTo>
                      <a:pt x="79436" y="95548"/>
                    </a:lnTo>
                    <a:cubicBezTo>
                      <a:pt x="77650" y="78581"/>
                      <a:pt x="77650" y="62508"/>
                      <a:pt x="77650" y="43756"/>
                    </a:cubicBezTo>
                    <a:lnTo>
                      <a:pt x="77650" y="0"/>
                    </a:lnTo>
                    <a:lnTo>
                      <a:pt x="99071" y="0"/>
                    </a:lnTo>
                    <a:lnTo>
                      <a:pt x="99071" y="125016"/>
                    </a:lnTo>
                    <a:lnTo>
                      <a:pt x="75865" y="125016"/>
                    </a:lnTo>
                    <a:lnTo>
                      <a:pt x="42842"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sp>
            <p:nvSpPr>
              <p:cNvPr id="58" name="Freeform 57">
                <a:extLst>
                  <a:ext uri="{FF2B5EF4-FFF2-40B4-BE49-F238E27FC236}">
                    <a16:creationId xmlns:a16="http://schemas.microsoft.com/office/drawing/2014/main" id="{94D7E868-2AB8-E34E-8925-93DCC16B4CC3}"/>
                  </a:ext>
                </a:extLst>
              </p:cNvPr>
              <p:cNvSpPr/>
              <p:nvPr/>
            </p:nvSpPr>
            <p:spPr>
              <a:xfrm>
                <a:off x="2988200" y="2158305"/>
                <a:ext cx="107103" cy="128587"/>
              </a:xfrm>
              <a:custGeom>
                <a:avLst/>
                <a:gdLst>
                  <a:gd name="connsiteX0" fmla="*/ 107104 w 107103"/>
                  <a:gd name="connsiteY0" fmla="*/ 121444 h 128587"/>
                  <a:gd name="connsiteX1" fmla="*/ 66940 w 107103"/>
                  <a:gd name="connsiteY1" fmla="*/ 128588 h 128587"/>
                  <a:gd name="connsiteX2" fmla="*/ 17851 w 107103"/>
                  <a:gd name="connsiteY2" fmla="*/ 111621 h 128587"/>
                  <a:gd name="connsiteX3" fmla="*/ 0 w 107103"/>
                  <a:gd name="connsiteY3" fmla="*/ 65187 h 128587"/>
                  <a:gd name="connsiteX4" fmla="*/ 69618 w 107103"/>
                  <a:gd name="connsiteY4" fmla="*/ 0 h 128587"/>
                  <a:gd name="connsiteX5" fmla="*/ 102641 w 107103"/>
                  <a:gd name="connsiteY5" fmla="*/ 6251 h 128587"/>
                  <a:gd name="connsiteX6" fmla="*/ 97286 w 107103"/>
                  <a:gd name="connsiteY6" fmla="*/ 25003 h 128587"/>
                  <a:gd name="connsiteX7" fmla="*/ 68725 w 107103"/>
                  <a:gd name="connsiteY7" fmla="*/ 19645 h 128587"/>
                  <a:gd name="connsiteX8" fmla="*/ 23206 w 107103"/>
                  <a:gd name="connsiteY8" fmla="*/ 64294 h 128587"/>
                  <a:gd name="connsiteX9" fmla="*/ 66940 w 107103"/>
                  <a:gd name="connsiteY9" fmla="*/ 109835 h 128587"/>
                  <a:gd name="connsiteX10" fmla="*/ 83898 w 107103"/>
                  <a:gd name="connsiteY10" fmla="*/ 107156 h 128587"/>
                  <a:gd name="connsiteX11" fmla="*/ 83898 w 107103"/>
                  <a:gd name="connsiteY11" fmla="*/ 75902 h 128587"/>
                  <a:gd name="connsiteX12" fmla="*/ 61585 w 107103"/>
                  <a:gd name="connsiteY12" fmla="*/ 75902 h 128587"/>
                  <a:gd name="connsiteX13" fmla="*/ 61585 w 107103"/>
                  <a:gd name="connsiteY13" fmla="*/ 58043 h 128587"/>
                  <a:gd name="connsiteX14" fmla="*/ 106212 w 107103"/>
                  <a:gd name="connsiteY14" fmla="*/ 58043 h 128587"/>
                  <a:gd name="connsiteX15" fmla="*/ 106212 w 107103"/>
                  <a:gd name="connsiteY15" fmla="*/ 121444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103" h="128587">
                    <a:moveTo>
                      <a:pt x="107104" y="121444"/>
                    </a:moveTo>
                    <a:cubicBezTo>
                      <a:pt x="99071" y="124123"/>
                      <a:pt x="83898" y="128588"/>
                      <a:pt x="66940" y="128588"/>
                    </a:cubicBezTo>
                    <a:cubicBezTo>
                      <a:pt x="45519" y="128588"/>
                      <a:pt x="29454" y="123230"/>
                      <a:pt x="17851" y="111621"/>
                    </a:cubicBezTo>
                    <a:cubicBezTo>
                      <a:pt x="7140" y="100905"/>
                      <a:pt x="0" y="84832"/>
                      <a:pt x="0" y="65187"/>
                    </a:cubicBezTo>
                    <a:cubicBezTo>
                      <a:pt x="0" y="25896"/>
                      <a:pt x="28561" y="0"/>
                      <a:pt x="69618" y="0"/>
                    </a:cubicBezTo>
                    <a:cubicBezTo>
                      <a:pt x="84791" y="0"/>
                      <a:pt x="97286" y="3572"/>
                      <a:pt x="102641" y="6251"/>
                    </a:cubicBezTo>
                    <a:lnTo>
                      <a:pt x="97286" y="25003"/>
                    </a:lnTo>
                    <a:cubicBezTo>
                      <a:pt x="90146" y="22324"/>
                      <a:pt x="82113" y="19645"/>
                      <a:pt x="68725" y="19645"/>
                    </a:cubicBezTo>
                    <a:cubicBezTo>
                      <a:pt x="41949" y="19645"/>
                      <a:pt x="23206" y="35719"/>
                      <a:pt x="23206" y="64294"/>
                    </a:cubicBezTo>
                    <a:cubicBezTo>
                      <a:pt x="23206" y="92869"/>
                      <a:pt x="41057" y="109835"/>
                      <a:pt x="66940" y="109835"/>
                    </a:cubicBezTo>
                    <a:cubicBezTo>
                      <a:pt x="74973" y="109835"/>
                      <a:pt x="81221" y="108942"/>
                      <a:pt x="83898" y="107156"/>
                    </a:cubicBezTo>
                    <a:lnTo>
                      <a:pt x="83898" y="75902"/>
                    </a:lnTo>
                    <a:lnTo>
                      <a:pt x="61585" y="75902"/>
                    </a:lnTo>
                    <a:lnTo>
                      <a:pt x="61585" y="58043"/>
                    </a:lnTo>
                    <a:lnTo>
                      <a:pt x="106212" y="58043"/>
                    </a:lnTo>
                    <a:lnTo>
                      <a:pt x="106212" y="121444"/>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sp>
          <p:nvSpPr>
            <p:cNvPr id="48" name="Freeform 47">
              <a:extLst>
                <a:ext uri="{FF2B5EF4-FFF2-40B4-BE49-F238E27FC236}">
                  <a16:creationId xmlns:a16="http://schemas.microsoft.com/office/drawing/2014/main" id="{4C3D5374-B4C7-8645-84B2-A05872F4D182}"/>
                </a:ext>
              </a:extLst>
            </p:cNvPr>
            <p:cNvSpPr/>
            <p:nvPr/>
          </p:nvSpPr>
          <p:spPr>
            <a:xfrm>
              <a:off x="1357125" y="6149941"/>
              <a:ext cx="7475" cy="205669"/>
            </a:xfrm>
            <a:custGeom>
              <a:avLst/>
              <a:gdLst>
                <a:gd name="connsiteX0" fmla="*/ 0 w 7140"/>
                <a:gd name="connsiteY0" fmla="*/ 0 h 196453"/>
                <a:gd name="connsiteX1" fmla="*/ 7140 w 7140"/>
                <a:gd name="connsiteY1" fmla="*/ 0 h 196453"/>
                <a:gd name="connsiteX2" fmla="*/ 7140 w 7140"/>
                <a:gd name="connsiteY2" fmla="*/ 196453 h 196453"/>
                <a:gd name="connsiteX3" fmla="*/ 0 w 7140"/>
                <a:gd name="connsiteY3" fmla="*/ 196453 h 196453"/>
              </a:gdLst>
              <a:ahLst/>
              <a:cxnLst>
                <a:cxn ang="0">
                  <a:pos x="connsiteX0" y="connsiteY0"/>
                </a:cxn>
                <a:cxn ang="0">
                  <a:pos x="connsiteX1" y="connsiteY1"/>
                </a:cxn>
                <a:cxn ang="0">
                  <a:pos x="connsiteX2" y="connsiteY2"/>
                </a:cxn>
                <a:cxn ang="0">
                  <a:pos x="connsiteX3" y="connsiteY3"/>
                </a:cxn>
              </a:cxnLst>
              <a:rect l="l" t="t" r="r" b="b"/>
              <a:pathLst>
                <a:path w="7140" h="196453">
                  <a:moveTo>
                    <a:pt x="0" y="0"/>
                  </a:moveTo>
                  <a:lnTo>
                    <a:pt x="7140" y="0"/>
                  </a:lnTo>
                  <a:lnTo>
                    <a:pt x="7140" y="196453"/>
                  </a:lnTo>
                  <a:lnTo>
                    <a:pt x="0" y="196453"/>
                  </a:lnTo>
                  <a:close/>
                </a:path>
              </a:pathLst>
            </a:custGeom>
            <a:solidFill>
              <a:srgbClr val="FFFFFF"/>
            </a:solidFill>
            <a:ln w="8925" cap="flat">
              <a:noFill/>
              <a:prstDash val="solid"/>
              <a:miter/>
            </a:ln>
          </p:spPr>
          <p:txBody>
            <a:bodyPr rtlCol="0" anchor="ctr"/>
            <a:lstStyle/>
            <a:p>
              <a:endParaRPr lang="en-GB" sz="1351">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386821175"/>
      </p:ext>
    </p:extLst>
  </p:cSld>
  <p:clrMapOvr>
    <a:masterClrMapping/>
  </p:clrMapOvr>
  <p:extLst>
    <p:ext uri="{DCECCB84-F9BA-43D5-87BE-67443E8EF086}">
      <p15:sldGuideLst xmlns:p15="http://schemas.microsoft.com/office/powerpoint/2012/main">
        <p15:guide id="1" pos="34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A458E68-470A-E34C-B21C-0FA831041AE7}"/>
              </a:ext>
            </a:extLst>
          </p:cNvPr>
          <p:cNvSpPr/>
          <p:nvPr userDrawn="1"/>
        </p:nvSpPr>
        <p:spPr>
          <a:xfrm>
            <a:off x="-1" y="0"/>
            <a:ext cx="12191999"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D679C286-149A-0B47-93AE-2668B7765CC1}"/>
              </a:ext>
            </a:extLst>
          </p:cNvPr>
          <p:cNvSpPr/>
          <p:nvPr userDrawn="1"/>
        </p:nvSpPr>
        <p:spPr>
          <a:xfrm>
            <a:off x="4971" y="0"/>
            <a:ext cx="12191999" cy="6858000"/>
          </a:xfrm>
          <a:prstGeom prst="rect">
            <a:avLst/>
          </a:prstGeom>
          <a:gradFill>
            <a:gsLst>
              <a:gs pos="100000">
                <a:schemeClr val="tx1">
                  <a:alpha val="46000"/>
                </a:schemeClr>
              </a:gs>
              <a:gs pos="65000">
                <a:schemeClr val="tx1">
                  <a:alpha val="61000"/>
                </a:schemeClr>
              </a:gs>
              <a:gs pos="36000">
                <a:schemeClr val="tx1">
                  <a:alpha val="69000"/>
                </a:schemeClr>
              </a:gs>
              <a:gs pos="0">
                <a:schemeClr val="tx1">
                  <a:alpha val="71000"/>
                </a:scheme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latin typeface="Arial" panose="020B0604020202020204" pitchFamily="34" charset="0"/>
              <a:cs typeface="Arial" panose="020B0604020202020204" pitchFamily="34" charset="0"/>
            </a:endParaRPr>
          </a:p>
        </p:txBody>
      </p:sp>
      <p:grpSp>
        <p:nvGrpSpPr>
          <p:cNvPr id="81" name="GRID" hidden="1">
            <a:extLst>
              <a:ext uri="{FF2B5EF4-FFF2-40B4-BE49-F238E27FC236}">
                <a16:creationId xmlns:a16="http://schemas.microsoft.com/office/drawing/2014/main" id="{3C4B5EF5-4011-F649-B6BF-3B904141EC10}"/>
              </a:ext>
            </a:extLst>
          </p:cNvPr>
          <p:cNvGrpSpPr/>
          <p:nvPr userDrawn="1"/>
        </p:nvGrpSpPr>
        <p:grpSpPr>
          <a:xfrm>
            <a:off x="3" y="0"/>
            <a:ext cx="12194677" cy="6858224"/>
            <a:chOff x="2" y="0"/>
            <a:chExt cx="9146008" cy="5143668"/>
          </a:xfrm>
        </p:grpSpPr>
        <p:grpSp>
          <p:nvGrpSpPr>
            <p:cNvPr id="61" name="Group 60">
              <a:extLst>
                <a:ext uri="{FF2B5EF4-FFF2-40B4-BE49-F238E27FC236}">
                  <a16:creationId xmlns:a16="http://schemas.microsoft.com/office/drawing/2014/main" id="{142E9802-4EE4-F541-80C8-784DB96F0C84}"/>
                </a:ext>
              </a:extLst>
            </p:cNvPr>
            <p:cNvGrpSpPr/>
            <p:nvPr userDrawn="1"/>
          </p:nvGrpSpPr>
          <p:grpSpPr>
            <a:xfrm>
              <a:off x="2" y="188535"/>
              <a:ext cx="9146008" cy="4766649"/>
              <a:chOff x="2" y="188535"/>
              <a:chExt cx="9146008" cy="4766649"/>
            </a:xfrm>
          </p:grpSpPr>
          <p:cxnSp>
            <p:nvCxnSpPr>
              <p:cNvPr id="44" name="Straight Connector 43">
                <a:extLst>
                  <a:ext uri="{FF2B5EF4-FFF2-40B4-BE49-F238E27FC236}">
                    <a16:creationId xmlns:a16="http://schemas.microsoft.com/office/drawing/2014/main" id="{C212744D-940C-A741-98F4-C309F98FDCC3}"/>
                  </a:ext>
                </a:extLst>
              </p:cNvPr>
              <p:cNvCxnSpPr>
                <a:cxnSpLocks/>
              </p:cNvCxnSpPr>
              <p:nvPr userDrawn="1"/>
            </p:nvCxnSpPr>
            <p:spPr>
              <a:xfrm flipH="1" flipV="1">
                <a:off x="2" y="4950814"/>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3B4F4CCF-763C-D846-AEDC-706BED6E9AC8}"/>
                  </a:ext>
                </a:extLst>
              </p:cNvPr>
              <p:cNvCxnSpPr>
                <a:cxnSpLocks/>
              </p:cNvCxnSpPr>
              <p:nvPr userDrawn="1"/>
            </p:nvCxnSpPr>
            <p:spPr>
              <a:xfrm flipH="1" flipV="1">
                <a:off x="2" y="4422259"/>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7AE0F65-BC15-814C-8381-30171FFEF844}"/>
                  </a:ext>
                </a:extLst>
              </p:cNvPr>
              <p:cNvCxnSpPr>
                <a:cxnSpLocks/>
              </p:cNvCxnSpPr>
              <p:nvPr userDrawn="1"/>
            </p:nvCxnSpPr>
            <p:spPr>
              <a:xfrm flipH="1" flipV="1">
                <a:off x="2" y="3898990"/>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873AD70-6033-8A49-B529-ADDDC9A67BF5}"/>
                  </a:ext>
                </a:extLst>
              </p:cNvPr>
              <p:cNvCxnSpPr>
                <a:cxnSpLocks/>
              </p:cNvCxnSpPr>
              <p:nvPr userDrawn="1"/>
            </p:nvCxnSpPr>
            <p:spPr>
              <a:xfrm flipH="1" flipV="1">
                <a:off x="2" y="3708710"/>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F15A5F0-8EC9-ED4E-A116-1B777323DAAA}"/>
                  </a:ext>
                </a:extLst>
              </p:cNvPr>
              <p:cNvCxnSpPr>
                <a:cxnSpLocks/>
              </p:cNvCxnSpPr>
              <p:nvPr userDrawn="1"/>
            </p:nvCxnSpPr>
            <p:spPr>
              <a:xfrm flipH="1" flipV="1">
                <a:off x="2" y="2937019"/>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7BE9293D-2673-924C-B5AD-1F3351066031}"/>
                  </a:ext>
                </a:extLst>
              </p:cNvPr>
              <p:cNvCxnSpPr>
                <a:cxnSpLocks/>
              </p:cNvCxnSpPr>
              <p:nvPr userDrawn="1"/>
            </p:nvCxnSpPr>
            <p:spPr>
              <a:xfrm flipH="1" flipV="1">
                <a:off x="2" y="2662171"/>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F2CB418-451D-B547-B4FB-FED1666B806A}"/>
                  </a:ext>
                </a:extLst>
              </p:cNvPr>
              <p:cNvCxnSpPr>
                <a:cxnSpLocks/>
              </p:cNvCxnSpPr>
              <p:nvPr userDrawn="1"/>
            </p:nvCxnSpPr>
            <p:spPr>
              <a:xfrm flipH="1" flipV="1">
                <a:off x="2" y="2471891"/>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C98A1AC-FA05-1344-AE6E-CD34D3D54EF0}"/>
                  </a:ext>
                </a:extLst>
              </p:cNvPr>
              <p:cNvCxnSpPr>
                <a:cxnSpLocks/>
              </p:cNvCxnSpPr>
              <p:nvPr userDrawn="1"/>
            </p:nvCxnSpPr>
            <p:spPr>
              <a:xfrm flipH="1" flipV="1">
                <a:off x="2" y="1953908"/>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C3DADAD-1136-004F-A944-826AEA91CC5F}"/>
                  </a:ext>
                </a:extLst>
              </p:cNvPr>
              <p:cNvCxnSpPr>
                <a:cxnSpLocks/>
              </p:cNvCxnSpPr>
              <p:nvPr userDrawn="1"/>
            </p:nvCxnSpPr>
            <p:spPr>
              <a:xfrm flipH="1" flipV="1">
                <a:off x="2" y="1425354"/>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3C64133-A384-6E42-B706-EA82F95AC4A2}"/>
                  </a:ext>
                </a:extLst>
              </p:cNvPr>
              <p:cNvCxnSpPr>
                <a:cxnSpLocks/>
              </p:cNvCxnSpPr>
              <p:nvPr userDrawn="1"/>
            </p:nvCxnSpPr>
            <p:spPr>
              <a:xfrm flipH="1" flipV="1">
                <a:off x="2" y="1235074"/>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371245E-F1F8-B84B-A293-842AC8732A83}"/>
                  </a:ext>
                </a:extLst>
              </p:cNvPr>
              <p:cNvCxnSpPr>
                <a:cxnSpLocks/>
              </p:cNvCxnSpPr>
              <p:nvPr userDrawn="1"/>
            </p:nvCxnSpPr>
            <p:spPr>
              <a:xfrm flipH="1" flipV="1">
                <a:off x="2" y="188535"/>
                <a:ext cx="9146008" cy="4370"/>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4B586E43-AD81-CE4A-9479-91CC72141AD0}"/>
                </a:ext>
              </a:extLst>
            </p:cNvPr>
            <p:cNvGrpSpPr/>
            <p:nvPr userDrawn="1"/>
          </p:nvGrpSpPr>
          <p:grpSpPr>
            <a:xfrm>
              <a:off x="360001" y="0"/>
              <a:ext cx="8460606" cy="5143668"/>
              <a:chOff x="190520" y="0"/>
              <a:chExt cx="8767519" cy="5143668"/>
            </a:xfrm>
          </p:grpSpPr>
          <p:cxnSp>
            <p:nvCxnSpPr>
              <p:cNvPr id="62" name="Straight Connector 61">
                <a:extLst>
                  <a:ext uri="{FF2B5EF4-FFF2-40B4-BE49-F238E27FC236}">
                    <a16:creationId xmlns:a16="http://schemas.microsoft.com/office/drawing/2014/main" id="{54CF24B2-0068-D74D-8D9B-CED15A32838B}"/>
                  </a:ext>
                </a:extLst>
              </p:cNvPr>
              <p:cNvCxnSpPr/>
              <p:nvPr userDrawn="1"/>
            </p:nvCxnSpPr>
            <p:spPr>
              <a:xfrm flipH="1">
                <a:off x="1114700"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6D3B0AA-9C2E-7B4E-8AEC-6BF315171DCF}"/>
                  </a:ext>
                </a:extLst>
              </p:cNvPr>
              <p:cNvCxnSpPr/>
              <p:nvPr userDrawn="1"/>
            </p:nvCxnSpPr>
            <p:spPr>
              <a:xfrm flipH="1">
                <a:off x="1310294"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DD2D23-1943-9C47-A821-856C1974A64F}"/>
                  </a:ext>
                </a:extLst>
              </p:cNvPr>
              <p:cNvCxnSpPr/>
              <p:nvPr userDrawn="1"/>
            </p:nvCxnSpPr>
            <p:spPr>
              <a:xfrm flipH="1">
                <a:off x="1774828"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C3C6675-395C-1E48-91F6-A4D735849D1D}"/>
                  </a:ext>
                </a:extLst>
              </p:cNvPr>
              <p:cNvCxnSpPr/>
              <p:nvPr userDrawn="1"/>
            </p:nvCxnSpPr>
            <p:spPr>
              <a:xfrm flipH="1">
                <a:off x="2239362"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BBA5ABB-85C1-0648-AD31-FFB036041386}"/>
                  </a:ext>
                </a:extLst>
              </p:cNvPr>
              <p:cNvCxnSpPr/>
              <p:nvPr userDrawn="1"/>
            </p:nvCxnSpPr>
            <p:spPr>
              <a:xfrm flipH="1">
                <a:off x="2425176"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71E818A-1661-3149-9D2A-5A611B78326D}"/>
                  </a:ext>
                </a:extLst>
              </p:cNvPr>
              <p:cNvCxnSpPr/>
              <p:nvPr userDrawn="1"/>
            </p:nvCxnSpPr>
            <p:spPr>
              <a:xfrm flipH="1">
                <a:off x="3359136"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A3455F1-8811-E849-93F0-CB1BC71A03B4}"/>
                  </a:ext>
                </a:extLst>
              </p:cNvPr>
              <p:cNvCxnSpPr/>
              <p:nvPr userDrawn="1"/>
            </p:nvCxnSpPr>
            <p:spPr>
              <a:xfrm flipH="1">
                <a:off x="3544950"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9489E3F-020E-7148-BC20-3E288057ABB8}"/>
                  </a:ext>
                </a:extLst>
              </p:cNvPr>
              <p:cNvCxnSpPr/>
              <p:nvPr userDrawn="1"/>
            </p:nvCxnSpPr>
            <p:spPr>
              <a:xfrm flipH="1">
                <a:off x="4478910"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38996A9-59B2-3E4D-BD8E-FCDA81B8B78E}"/>
                  </a:ext>
                </a:extLst>
              </p:cNvPr>
              <p:cNvCxnSpPr/>
              <p:nvPr userDrawn="1"/>
            </p:nvCxnSpPr>
            <p:spPr>
              <a:xfrm flipH="1">
                <a:off x="4664724"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5719290-EEE5-954D-93E6-0BC910AD0F43}"/>
                  </a:ext>
                </a:extLst>
              </p:cNvPr>
              <p:cNvCxnSpPr/>
              <p:nvPr userDrawn="1"/>
            </p:nvCxnSpPr>
            <p:spPr>
              <a:xfrm flipH="1">
                <a:off x="5598684"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45AB86F-CBDE-3542-B792-6FCD5395CA51}"/>
                  </a:ext>
                </a:extLst>
              </p:cNvPr>
              <p:cNvCxnSpPr/>
              <p:nvPr userDrawn="1"/>
            </p:nvCxnSpPr>
            <p:spPr>
              <a:xfrm flipH="1">
                <a:off x="5784498"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49C5CB9-14C2-6C42-8DC9-1F7392E6590E}"/>
                  </a:ext>
                </a:extLst>
              </p:cNvPr>
              <p:cNvCxnSpPr/>
              <p:nvPr userDrawn="1"/>
            </p:nvCxnSpPr>
            <p:spPr>
              <a:xfrm flipH="1">
                <a:off x="6718457"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6EC08AE-6C1E-B143-954D-A311A32D9D43}"/>
                  </a:ext>
                </a:extLst>
              </p:cNvPr>
              <p:cNvCxnSpPr/>
              <p:nvPr userDrawn="1"/>
            </p:nvCxnSpPr>
            <p:spPr>
              <a:xfrm flipH="1">
                <a:off x="6904271"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77F6006-326C-3A41-BD66-67490D1592FD}"/>
                  </a:ext>
                </a:extLst>
              </p:cNvPr>
              <p:cNvCxnSpPr/>
              <p:nvPr userDrawn="1"/>
            </p:nvCxnSpPr>
            <p:spPr>
              <a:xfrm flipH="1">
                <a:off x="7833341"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DF0C75E-3DC7-D547-A95E-E4E6A41731DA}"/>
                  </a:ext>
                </a:extLst>
              </p:cNvPr>
              <p:cNvCxnSpPr/>
              <p:nvPr userDrawn="1"/>
            </p:nvCxnSpPr>
            <p:spPr>
              <a:xfrm flipH="1">
                <a:off x="8019155"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A382484-2AE3-2A42-9906-B9F6AE83227F}"/>
                  </a:ext>
                </a:extLst>
              </p:cNvPr>
              <p:cNvCxnSpPr/>
              <p:nvPr userDrawn="1"/>
            </p:nvCxnSpPr>
            <p:spPr>
              <a:xfrm flipH="1">
                <a:off x="8953115"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63423D3-9E81-9847-A67D-AAB64DD33C46}"/>
                  </a:ext>
                </a:extLst>
              </p:cNvPr>
              <p:cNvCxnSpPr/>
              <p:nvPr userDrawn="1"/>
            </p:nvCxnSpPr>
            <p:spPr>
              <a:xfrm flipH="1">
                <a:off x="190520" y="0"/>
                <a:ext cx="4924" cy="5143668"/>
              </a:xfrm>
              <a:prstGeom prst="line">
                <a:avLst/>
              </a:prstGeom>
              <a:ln w="3175">
                <a:solidFill>
                  <a:srgbClr val="F15A28">
                    <a:alpha val="54000"/>
                  </a:srgbClr>
                </a:solidFill>
              </a:ln>
            </p:spPr>
            <p:style>
              <a:lnRef idx="1">
                <a:schemeClr val="accent1"/>
              </a:lnRef>
              <a:fillRef idx="0">
                <a:schemeClr val="accent1"/>
              </a:fillRef>
              <a:effectRef idx="0">
                <a:schemeClr val="accent1"/>
              </a:effectRef>
              <a:fontRef idx="minor">
                <a:schemeClr val="tx1"/>
              </a:fontRef>
            </p:style>
          </p:cxnSp>
        </p:grpSp>
      </p:grpSp>
      <p:grpSp>
        <p:nvGrpSpPr>
          <p:cNvPr id="5" name="Group 4">
            <a:extLst>
              <a:ext uri="{FF2B5EF4-FFF2-40B4-BE49-F238E27FC236}">
                <a16:creationId xmlns:a16="http://schemas.microsoft.com/office/drawing/2014/main" id="{066330C6-AD98-A24A-89C1-2A72CB32EA61}"/>
              </a:ext>
            </a:extLst>
          </p:cNvPr>
          <p:cNvGrpSpPr/>
          <p:nvPr userDrawn="1"/>
        </p:nvGrpSpPr>
        <p:grpSpPr>
          <a:xfrm>
            <a:off x="10383525" y="6449221"/>
            <a:ext cx="1377283" cy="180852"/>
            <a:chOff x="4931314" y="1794418"/>
            <a:chExt cx="1768107" cy="232171"/>
          </a:xfrm>
          <a:solidFill>
            <a:schemeClr val="bg1"/>
          </a:solidFill>
        </p:grpSpPr>
        <p:sp>
          <p:nvSpPr>
            <p:cNvPr id="7" name="Freeform 6">
              <a:extLst>
                <a:ext uri="{FF2B5EF4-FFF2-40B4-BE49-F238E27FC236}">
                  <a16:creationId xmlns:a16="http://schemas.microsoft.com/office/drawing/2014/main" id="{14BA2752-CDD7-2C4A-8456-2AAF7ACF4FD5}"/>
                </a:ext>
              </a:extLst>
            </p:cNvPr>
            <p:cNvSpPr/>
            <p:nvPr/>
          </p:nvSpPr>
          <p:spPr>
            <a:xfrm>
              <a:off x="4931314" y="1794418"/>
              <a:ext cx="632805" cy="232171"/>
            </a:xfrm>
            <a:custGeom>
              <a:avLst/>
              <a:gdLst>
                <a:gd name="connsiteX0" fmla="*/ 64262 w 632805"/>
                <a:gd name="connsiteY0" fmla="*/ 48220 h 232171"/>
                <a:gd name="connsiteX1" fmla="*/ 64262 w 632805"/>
                <a:gd name="connsiteY1" fmla="*/ 64294 h 232171"/>
                <a:gd name="connsiteX2" fmla="*/ 64262 w 632805"/>
                <a:gd name="connsiteY2" fmla="*/ 65187 h 232171"/>
                <a:gd name="connsiteX3" fmla="*/ 64262 w 632805"/>
                <a:gd name="connsiteY3" fmla="*/ 65187 h 232171"/>
                <a:gd name="connsiteX4" fmla="*/ 65155 w 632805"/>
                <a:gd name="connsiteY4" fmla="*/ 63401 h 232171"/>
                <a:gd name="connsiteX5" fmla="*/ 108889 w 632805"/>
                <a:gd name="connsiteY5" fmla="*/ 45541 h 232171"/>
                <a:gd name="connsiteX6" fmla="*/ 149053 w 632805"/>
                <a:gd name="connsiteY6" fmla="*/ 78581 h 232171"/>
                <a:gd name="connsiteX7" fmla="*/ 149053 w 632805"/>
                <a:gd name="connsiteY7" fmla="*/ 168771 h 232171"/>
                <a:gd name="connsiteX8" fmla="*/ 149053 w 632805"/>
                <a:gd name="connsiteY8" fmla="*/ 168771 h 232171"/>
                <a:gd name="connsiteX9" fmla="*/ 149053 w 632805"/>
                <a:gd name="connsiteY9" fmla="*/ 191095 h 232171"/>
                <a:gd name="connsiteX10" fmla="*/ 128525 w 632805"/>
                <a:gd name="connsiteY10" fmla="*/ 191095 h 232171"/>
                <a:gd name="connsiteX11" fmla="*/ 128525 w 632805"/>
                <a:gd name="connsiteY11" fmla="*/ 164306 h 232171"/>
                <a:gd name="connsiteX12" fmla="*/ 128525 w 632805"/>
                <a:gd name="connsiteY12" fmla="*/ 87511 h 232171"/>
                <a:gd name="connsiteX13" fmla="*/ 97286 w 632805"/>
                <a:gd name="connsiteY13" fmla="*/ 59829 h 232171"/>
                <a:gd name="connsiteX14" fmla="*/ 64262 w 632805"/>
                <a:gd name="connsiteY14" fmla="*/ 85725 h 232171"/>
                <a:gd name="connsiteX15" fmla="*/ 64262 w 632805"/>
                <a:gd name="connsiteY15" fmla="*/ 167878 h 232171"/>
                <a:gd name="connsiteX16" fmla="*/ 64262 w 632805"/>
                <a:gd name="connsiteY16" fmla="*/ 168771 h 232171"/>
                <a:gd name="connsiteX17" fmla="*/ 64262 w 632805"/>
                <a:gd name="connsiteY17" fmla="*/ 191095 h 232171"/>
                <a:gd name="connsiteX18" fmla="*/ 43734 w 632805"/>
                <a:gd name="connsiteY18" fmla="*/ 191095 h 232171"/>
                <a:gd name="connsiteX19" fmla="*/ 43734 w 632805"/>
                <a:gd name="connsiteY19" fmla="*/ 167878 h 232171"/>
                <a:gd name="connsiteX20" fmla="*/ 43734 w 632805"/>
                <a:gd name="connsiteY20" fmla="*/ 65187 h 232171"/>
                <a:gd name="connsiteX21" fmla="*/ 43734 w 632805"/>
                <a:gd name="connsiteY21" fmla="*/ 46434 h 232171"/>
                <a:gd name="connsiteX22" fmla="*/ 47304 w 632805"/>
                <a:gd name="connsiteY22" fmla="*/ 46434 h 232171"/>
                <a:gd name="connsiteX23" fmla="*/ 58015 w 632805"/>
                <a:gd name="connsiteY23" fmla="*/ 46434 h 232171"/>
                <a:gd name="connsiteX24" fmla="*/ 64262 w 632805"/>
                <a:gd name="connsiteY24" fmla="*/ 46434 h 232171"/>
                <a:gd name="connsiteX25" fmla="*/ 339163 w 632805"/>
                <a:gd name="connsiteY25" fmla="*/ 164306 h 232171"/>
                <a:gd name="connsiteX26" fmla="*/ 382004 w 632805"/>
                <a:gd name="connsiteY26" fmla="*/ 183952 h 232171"/>
                <a:gd name="connsiteX27" fmla="*/ 413243 w 632805"/>
                <a:gd name="connsiteY27" fmla="*/ 160734 h 232171"/>
                <a:gd name="connsiteX28" fmla="*/ 381112 w 632805"/>
                <a:gd name="connsiteY28" fmla="*/ 131266 h 232171"/>
                <a:gd name="connsiteX29" fmla="*/ 343625 w 632805"/>
                <a:gd name="connsiteY29" fmla="*/ 107156 h 232171"/>
                <a:gd name="connsiteX30" fmla="*/ 344518 w 632805"/>
                <a:gd name="connsiteY30" fmla="*/ 121444 h 232171"/>
                <a:gd name="connsiteX31" fmla="*/ 276685 w 632805"/>
                <a:gd name="connsiteY31" fmla="*/ 197346 h 232171"/>
                <a:gd name="connsiteX32" fmla="*/ 208853 w 632805"/>
                <a:gd name="connsiteY32" fmla="*/ 121444 h 232171"/>
                <a:gd name="connsiteX33" fmla="*/ 237414 w 632805"/>
                <a:gd name="connsiteY33" fmla="*/ 59829 h 232171"/>
                <a:gd name="connsiteX34" fmla="*/ 191002 w 632805"/>
                <a:gd name="connsiteY34" fmla="*/ 59829 h 232171"/>
                <a:gd name="connsiteX35" fmla="*/ 191002 w 632805"/>
                <a:gd name="connsiteY35" fmla="*/ 168771 h 232171"/>
                <a:gd name="connsiteX36" fmla="*/ 191002 w 632805"/>
                <a:gd name="connsiteY36" fmla="*/ 168771 h 232171"/>
                <a:gd name="connsiteX37" fmla="*/ 191002 w 632805"/>
                <a:gd name="connsiteY37" fmla="*/ 191095 h 232171"/>
                <a:gd name="connsiteX38" fmla="*/ 170474 w 632805"/>
                <a:gd name="connsiteY38" fmla="*/ 191095 h 232171"/>
                <a:gd name="connsiteX39" fmla="*/ 170474 w 632805"/>
                <a:gd name="connsiteY39" fmla="*/ 169664 h 232171"/>
                <a:gd name="connsiteX40" fmla="*/ 170474 w 632805"/>
                <a:gd name="connsiteY40" fmla="*/ 168771 h 232171"/>
                <a:gd name="connsiteX41" fmla="*/ 170474 w 632805"/>
                <a:gd name="connsiteY41" fmla="*/ 59829 h 232171"/>
                <a:gd name="connsiteX42" fmla="*/ 152623 w 632805"/>
                <a:gd name="connsiteY42" fmla="*/ 59829 h 232171"/>
                <a:gd name="connsiteX43" fmla="*/ 152623 w 632805"/>
                <a:gd name="connsiteY43" fmla="*/ 46434 h 232171"/>
                <a:gd name="connsiteX44" fmla="*/ 171366 w 632805"/>
                <a:gd name="connsiteY44" fmla="*/ 46434 h 232171"/>
                <a:gd name="connsiteX45" fmla="*/ 214208 w 632805"/>
                <a:gd name="connsiteY45" fmla="*/ 2679 h 232171"/>
                <a:gd name="connsiteX46" fmla="*/ 242769 w 632805"/>
                <a:gd name="connsiteY46" fmla="*/ 6251 h 232171"/>
                <a:gd name="connsiteX47" fmla="*/ 242769 w 632805"/>
                <a:gd name="connsiteY47" fmla="*/ 25003 h 232171"/>
                <a:gd name="connsiteX48" fmla="*/ 242769 w 632805"/>
                <a:gd name="connsiteY48" fmla="*/ 27682 h 232171"/>
                <a:gd name="connsiteX49" fmla="*/ 241876 w 632805"/>
                <a:gd name="connsiteY49" fmla="*/ 27682 h 232171"/>
                <a:gd name="connsiteX50" fmla="*/ 209745 w 632805"/>
                <a:gd name="connsiteY50" fmla="*/ 16073 h 232171"/>
                <a:gd name="connsiteX51" fmla="*/ 190110 w 632805"/>
                <a:gd name="connsiteY51" fmla="*/ 46434 h 232171"/>
                <a:gd name="connsiteX52" fmla="*/ 266867 w 632805"/>
                <a:gd name="connsiteY52" fmla="*/ 46434 h 232171"/>
                <a:gd name="connsiteX53" fmla="*/ 276685 w 632805"/>
                <a:gd name="connsiteY53" fmla="*/ 45541 h 232171"/>
                <a:gd name="connsiteX54" fmla="*/ 338270 w 632805"/>
                <a:gd name="connsiteY54" fmla="*/ 89297 h 232171"/>
                <a:gd name="connsiteX55" fmla="*/ 338270 w 632805"/>
                <a:gd name="connsiteY55" fmla="*/ 84832 h 232171"/>
                <a:gd name="connsiteX56" fmla="*/ 391822 w 632805"/>
                <a:gd name="connsiteY56" fmla="*/ 46434 h 232171"/>
                <a:gd name="connsiteX57" fmla="*/ 394500 w 632805"/>
                <a:gd name="connsiteY57" fmla="*/ 46434 h 232171"/>
                <a:gd name="connsiteX58" fmla="*/ 425738 w 632805"/>
                <a:gd name="connsiteY58" fmla="*/ 51792 h 232171"/>
                <a:gd name="connsiteX59" fmla="*/ 432878 w 632805"/>
                <a:gd name="connsiteY59" fmla="*/ 70545 h 232171"/>
                <a:gd name="connsiteX60" fmla="*/ 441804 w 632805"/>
                <a:gd name="connsiteY60" fmla="*/ 91976 h 232171"/>
                <a:gd name="connsiteX61" fmla="*/ 465010 w 632805"/>
                <a:gd name="connsiteY61" fmla="*/ 148233 h 232171"/>
                <a:gd name="connsiteX62" fmla="*/ 467687 w 632805"/>
                <a:gd name="connsiteY62" fmla="*/ 157163 h 232171"/>
                <a:gd name="connsiteX63" fmla="*/ 470365 w 632805"/>
                <a:gd name="connsiteY63" fmla="*/ 148233 h 232171"/>
                <a:gd name="connsiteX64" fmla="*/ 499818 w 632805"/>
                <a:gd name="connsiteY64" fmla="*/ 75902 h 232171"/>
                <a:gd name="connsiteX65" fmla="*/ 549800 w 632805"/>
                <a:gd name="connsiteY65" fmla="*/ 47327 h 232171"/>
                <a:gd name="connsiteX66" fmla="*/ 580146 w 632805"/>
                <a:gd name="connsiteY66" fmla="*/ 52685 h 232171"/>
                <a:gd name="connsiteX67" fmla="*/ 580146 w 632805"/>
                <a:gd name="connsiteY67" fmla="*/ 74116 h 232171"/>
                <a:gd name="connsiteX68" fmla="*/ 543553 w 632805"/>
                <a:gd name="connsiteY68" fmla="*/ 59829 h 232171"/>
                <a:gd name="connsiteX69" fmla="*/ 515884 w 632805"/>
                <a:gd name="connsiteY69" fmla="*/ 83939 h 232171"/>
                <a:gd name="connsiteX70" fmla="*/ 548908 w 632805"/>
                <a:gd name="connsiteY70" fmla="*/ 112514 h 232171"/>
                <a:gd name="connsiteX71" fmla="*/ 588179 w 632805"/>
                <a:gd name="connsiteY71" fmla="*/ 153591 h 232171"/>
                <a:gd name="connsiteX72" fmla="*/ 532842 w 632805"/>
                <a:gd name="connsiteY72" fmla="*/ 198239 h 232171"/>
                <a:gd name="connsiteX73" fmla="*/ 493571 w 632805"/>
                <a:gd name="connsiteY73" fmla="*/ 187523 h 232171"/>
                <a:gd name="connsiteX74" fmla="*/ 493571 w 632805"/>
                <a:gd name="connsiteY74" fmla="*/ 162520 h 232171"/>
                <a:gd name="connsiteX75" fmla="*/ 494463 w 632805"/>
                <a:gd name="connsiteY75" fmla="*/ 163413 h 232171"/>
                <a:gd name="connsiteX76" fmla="*/ 539090 w 632805"/>
                <a:gd name="connsiteY76" fmla="*/ 183952 h 232171"/>
                <a:gd name="connsiteX77" fmla="*/ 570329 w 632805"/>
                <a:gd name="connsiteY77" fmla="*/ 160734 h 232171"/>
                <a:gd name="connsiteX78" fmla="*/ 538197 w 632805"/>
                <a:gd name="connsiteY78" fmla="*/ 131266 h 232171"/>
                <a:gd name="connsiteX79" fmla="*/ 500711 w 632805"/>
                <a:gd name="connsiteY79" fmla="*/ 102691 h 232171"/>
                <a:gd name="connsiteX80" fmla="*/ 447159 w 632805"/>
                <a:gd name="connsiteY80" fmla="*/ 232172 h 232171"/>
                <a:gd name="connsiteX81" fmla="*/ 427523 w 632805"/>
                <a:gd name="connsiteY81" fmla="*/ 232172 h 232171"/>
                <a:gd name="connsiteX82" fmla="*/ 431986 w 632805"/>
                <a:gd name="connsiteY82" fmla="*/ 223242 h 232171"/>
                <a:gd name="connsiteX83" fmla="*/ 436449 w 632805"/>
                <a:gd name="connsiteY83" fmla="*/ 215206 h 232171"/>
                <a:gd name="connsiteX84" fmla="*/ 436449 w 632805"/>
                <a:gd name="connsiteY84" fmla="*/ 215206 h 232171"/>
                <a:gd name="connsiteX85" fmla="*/ 455192 w 632805"/>
                <a:gd name="connsiteY85" fmla="*/ 175022 h 232171"/>
                <a:gd name="connsiteX86" fmla="*/ 416813 w 632805"/>
                <a:gd name="connsiteY86" fmla="*/ 82153 h 232171"/>
                <a:gd name="connsiteX87" fmla="*/ 415028 w 632805"/>
                <a:gd name="connsiteY87" fmla="*/ 76795 h 232171"/>
                <a:gd name="connsiteX88" fmla="*/ 400747 w 632805"/>
                <a:gd name="connsiteY88" fmla="*/ 60722 h 232171"/>
                <a:gd name="connsiteX89" fmla="*/ 385574 w 632805"/>
                <a:gd name="connsiteY89" fmla="*/ 58043 h 232171"/>
                <a:gd name="connsiteX90" fmla="*/ 357013 w 632805"/>
                <a:gd name="connsiteY90" fmla="*/ 82153 h 232171"/>
                <a:gd name="connsiteX91" fmla="*/ 390929 w 632805"/>
                <a:gd name="connsiteY91" fmla="*/ 110728 h 232171"/>
                <a:gd name="connsiteX92" fmla="*/ 430201 w 632805"/>
                <a:gd name="connsiteY92" fmla="*/ 151805 h 232171"/>
                <a:gd name="connsiteX93" fmla="*/ 374864 w 632805"/>
                <a:gd name="connsiteY93" fmla="*/ 196453 h 232171"/>
                <a:gd name="connsiteX94" fmla="*/ 338270 w 632805"/>
                <a:gd name="connsiteY94" fmla="*/ 187523 h 232171"/>
                <a:gd name="connsiteX95" fmla="*/ 338270 w 632805"/>
                <a:gd name="connsiteY95" fmla="*/ 164306 h 232171"/>
                <a:gd name="connsiteX96" fmla="*/ 434664 w 632805"/>
                <a:gd name="connsiteY96" fmla="*/ 70545 h 232171"/>
                <a:gd name="connsiteX97" fmla="*/ 435556 w 632805"/>
                <a:gd name="connsiteY97" fmla="*/ 73223 h 232171"/>
                <a:gd name="connsiteX98" fmla="*/ 443589 w 632805"/>
                <a:gd name="connsiteY98" fmla="*/ 91976 h 232171"/>
                <a:gd name="connsiteX99" fmla="*/ 434664 w 632805"/>
                <a:gd name="connsiteY99" fmla="*/ 70545 h 232171"/>
                <a:gd name="connsiteX100" fmla="*/ 432878 w 632805"/>
                <a:gd name="connsiteY100" fmla="*/ 224135 h 232171"/>
                <a:gd name="connsiteX101" fmla="*/ 437341 w 632805"/>
                <a:gd name="connsiteY101" fmla="*/ 216098 h 232171"/>
                <a:gd name="connsiteX102" fmla="*/ 432878 w 632805"/>
                <a:gd name="connsiteY102" fmla="*/ 224135 h 232171"/>
                <a:gd name="connsiteX103" fmla="*/ 417705 w 632805"/>
                <a:gd name="connsiteY103" fmla="*/ 82153 h 232171"/>
                <a:gd name="connsiteX104" fmla="*/ 416813 w 632805"/>
                <a:gd name="connsiteY104" fmla="*/ 80367 h 232171"/>
                <a:gd name="connsiteX105" fmla="*/ 417705 w 632805"/>
                <a:gd name="connsiteY105" fmla="*/ 82153 h 232171"/>
                <a:gd name="connsiteX106" fmla="*/ 230274 w 632805"/>
                <a:gd name="connsiteY106" fmla="*/ 123230 h 232171"/>
                <a:gd name="connsiteX107" fmla="*/ 277578 w 632805"/>
                <a:gd name="connsiteY107" fmla="*/ 183952 h 232171"/>
                <a:gd name="connsiteX108" fmla="*/ 323097 w 632805"/>
                <a:gd name="connsiteY108" fmla="*/ 121444 h 232171"/>
                <a:gd name="connsiteX109" fmla="*/ 275793 w 632805"/>
                <a:gd name="connsiteY109" fmla="*/ 60722 h 232171"/>
                <a:gd name="connsiteX110" fmla="*/ 230274 w 632805"/>
                <a:gd name="connsiteY110" fmla="*/ 123230 h 232171"/>
                <a:gd name="connsiteX111" fmla="*/ 0 w 632805"/>
                <a:gd name="connsiteY111" fmla="*/ 26789 h 232171"/>
                <a:gd name="connsiteX112" fmla="*/ 0 w 632805"/>
                <a:gd name="connsiteY112" fmla="*/ 26789 h 232171"/>
                <a:gd name="connsiteX113" fmla="*/ 0 w 632805"/>
                <a:gd name="connsiteY113" fmla="*/ 3572 h 232171"/>
                <a:gd name="connsiteX114" fmla="*/ 22313 w 632805"/>
                <a:gd name="connsiteY114" fmla="*/ 3572 h 232171"/>
                <a:gd name="connsiteX115" fmla="*/ 22313 w 632805"/>
                <a:gd name="connsiteY115" fmla="*/ 25896 h 232171"/>
                <a:gd name="connsiteX116" fmla="*/ 22313 w 632805"/>
                <a:gd name="connsiteY116" fmla="*/ 25896 h 232171"/>
                <a:gd name="connsiteX117" fmla="*/ 22313 w 632805"/>
                <a:gd name="connsiteY117" fmla="*/ 168771 h 232171"/>
                <a:gd name="connsiteX118" fmla="*/ 22313 w 632805"/>
                <a:gd name="connsiteY118" fmla="*/ 169664 h 232171"/>
                <a:gd name="connsiteX119" fmla="*/ 22313 w 632805"/>
                <a:gd name="connsiteY119" fmla="*/ 191988 h 232171"/>
                <a:gd name="connsiteX120" fmla="*/ 0 w 632805"/>
                <a:gd name="connsiteY120" fmla="*/ 191988 h 232171"/>
                <a:gd name="connsiteX121" fmla="*/ 0 w 632805"/>
                <a:gd name="connsiteY121" fmla="*/ 169664 h 232171"/>
                <a:gd name="connsiteX122" fmla="*/ 0 w 632805"/>
                <a:gd name="connsiteY122" fmla="*/ 169664 h 232171"/>
                <a:gd name="connsiteX123" fmla="*/ 0 w 632805"/>
                <a:gd name="connsiteY123" fmla="*/ 26789 h 232171"/>
                <a:gd name="connsiteX124" fmla="*/ 610493 w 632805"/>
                <a:gd name="connsiteY124" fmla="*/ 10716 h 232171"/>
                <a:gd name="connsiteX125" fmla="*/ 614955 w 632805"/>
                <a:gd name="connsiteY125" fmla="*/ 10716 h 232171"/>
                <a:gd name="connsiteX126" fmla="*/ 618525 w 632805"/>
                <a:gd name="connsiteY126" fmla="*/ 13395 h 232171"/>
                <a:gd name="connsiteX127" fmla="*/ 615848 w 632805"/>
                <a:gd name="connsiteY127" fmla="*/ 16073 h 232171"/>
                <a:gd name="connsiteX128" fmla="*/ 611385 w 632805"/>
                <a:gd name="connsiteY128" fmla="*/ 16073 h 232171"/>
                <a:gd name="connsiteX129" fmla="*/ 611385 w 632805"/>
                <a:gd name="connsiteY129" fmla="*/ 10716 h 232171"/>
                <a:gd name="connsiteX130" fmla="*/ 606922 w 632805"/>
                <a:gd name="connsiteY130" fmla="*/ 27682 h 232171"/>
                <a:gd name="connsiteX131" fmla="*/ 610493 w 632805"/>
                <a:gd name="connsiteY131" fmla="*/ 27682 h 232171"/>
                <a:gd name="connsiteX132" fmla="*/ 610493 w 632805"/>
                <a:gd name="connsiteY132" fmla="*/ 19645 h 232171"/>
                <a:gd name="connsiteX133" fmla="*/ 614955 w 632805"/>
                <a:gd name="connsiteY133" fmla="*/ 19645 h 232171"/>
                <a:gd name="connsiteX134" fmla="*/ 618525 w 632805"/>
                <a:gd name="connsiteY134" fmla="*/ 27682 h 232171"/>
                <a:gd name="connsiteX135" fmla="*/ 622988 w 632805"/>
                <a:gd name="connsiteY135" fmla="*/ 27682 h 232171"/>
                <a:gd name="connsiteX136" fmla="*/ 619418 w 632805"/>
                <a:gd name="connsiteY136" fmla="*/ 18752 h 232171"/>
                <a:gd name="connsiteX137" fmla="*/ 622988 w 632805"/>
                <a:gd name="connsiteY137" fmla="*/ 13395 h 232171"/>
                <a:gd name="connsiteX138" fmla="*/ 614955 w 632805"/>
                <a:gd name="connsiteY138" fmla="*/ 7144 h 232171"/>
                <a:gd name="connsiteX139" fmla="*/ 607815 w 632805"/>
                <a:gd name="connsiteY139" fmla="*/ 7144 h 232171"/>
                <a:gd name="connsiteX140" fmla="*/ 607815 w 632805"/>
                <a:gd name="connsiteY140" fmla="*/ 27682 h 232171"/>
                <a:gd name="connsiteX141" fmla="*/ 597105 w 632805"/>
                <a:gd name="connsiteY141" fmla="*/ 17859 h 232171"/>
                <a:gd name="connsiteX142" fmla="*/ 613170 w 632805"/>
                <a:gd name="connsiteY142" fmla="*/ 1786 h 232171"/>
                <a:gd name="connsiteX143" fmla="*/ 629236 w 632805"/>
                <a:gd name="connsiteY143" fmla="*/ 17859 h 232171"/>
                <a:gd name="connsiteX144" fmla="*/ 613170 w 632805"/>
                <a:gd name="connsiteY144" fmla="*/ 33933 h 232171"/>
                <a:gd name="connsiteX145" fmla="*/ 597105 w 632805"/>
                <a:gd name="connsiteY145" fmla="*/ 17859 h 232171"/>
                <a:gd name="connsiteX146" fmla="*/ 614063 w 632805"/>
                <a:gd name="connsiteY146" fmla="*/ 37505 h 232171"/>
                <a:gd name="connsiteX147" fmla="*/ 632806 w 632805"/>
                <a:gd name="connsiteY147" fmla="*/ 18752 h 232171"/>
                <a:gd name="connsiteX148" fmla="*/ 614063 w 632805"/>
                <a:gd name="connsiteY148" fmla="*/ 0 h 232171"/>
                <a:gd name="connsiteX149" fmla="*/ 595319 w 632805"/>
                <a:gd name="connsiteY149" fmla="*/ 18752 h 232171"/>
                <a:gd name="connsiteX150" fmla="*/ 614063 w 632805"/>
                <a:gd name="connsiteY150" fmla="*/ 37505 h 232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632805" h="232171">
                  <a:moveTo>
                    <a:pt x="64262" y="48220"/>
                  </a:moveTo>
                  <a:lnTo>
                    <a:pt x="64262" y="64294"/>
                  </a:lnTo>
                  <a:lnTo>
                    <a:pt x="64262" y="65187"/>
                  </a:lnTo>
                  <a:lnTo>
                    <a:pt x="64262" y="65187"/>
                  </a:lnTo>
                  <a:cubicBezTo>
                    <a:pt x="64262" y="64294"/>
                    <a:pt x="65155" y="64294"/>
                    <a:pt x="65155" y="63401"/>
                  </a:cubicBezTo>
                  <a:cubicBezTo>
                    <a:pt x="73188" y="54471"/>
                    <a:pt x="83898" y="45541"/>
                    <a:pt x="108889" y="45541"/>
                  </a:cubicBezTo>
                  <a:cubicBezTo>
                    <a:pt x="132987" y="45541"/>
                    <a:pt x="148161" y="66080"/>
                    <a:pt x="149053" y="78581"/>
                  </a:cubicBezTo>
                  <a:lnTo>
                    <a:pt x="149053" y="168771"/>
                  </a:lnTo>
                  <a:lnTo>
                    <a:pt x="149053" y="168771"/>
                  </a:lnTo>
                  <a:lnTo>
                    <a:pt x="149053" y="191095"/>
                  </a:lnTo>
                  <a:lnTo>
                    <a:pt x="128525" y="191095"/>
                  </a:lnTo>
                  <a:lnTo>
                    <a:pt x="128525" y="164306"/>
                  </a:lnTo>
                  <a:lnTo>
                    <a:pt x="128525" y="87511"/>
                  </a:lnTo>
                  <a:cubicBezTo>
                    <a:pt x="128525" y="71438"/>
                    <a:pt x="114244" y="59829"/>
                    <a:pt x="97286" y="59829"/>
                  </a:cubicBezTo>
                  <a:cubicBezTo>
                    <a:pt x="83006" y="59829"/>
                    <a:pt x="65155" y="72331"/>
                    <a:pt x="64262" y="85725"/>
                  </a:cubicBezTo>
                  <a:lnTo>
                    <a:pt x="64262" y="167878"/>
                  </a:lnTo>
                  <a:lnTo>
                    <a:pt x="64262" y="168771"/>
                  </a:lnTo>
                  <a:lnTo>
                    <a:pt x="64262" y="191095"/>
                  </a:lnTo>
                  <a:lnTo>
                    <a:pt x="43734" y="191095"/>
                  </a:lnTo>
                  <a:lnTo>
                    <a:pt x="43734" y="167878"/>
                  </a:lnTo>
                  <a:lnTo>
                    <a:pt x="43734" y="65187"/>
                  </a:lnTo>
                  <a:lnTo>
                    <a:pt x="43734" y="46434"/>
                  </a:lnTo>
                  <a:lnTo>
                    <a:pt x="47304" y="46434"/>
                  </a:lnTo>
                  <a:lnTo>
                    <a:pt x="58015" y="46434"/>
                  </a:lnTo>
                  <a:lnTo>
                    <a:pt x="64262" y="46434"/>
                  </a:lnTo>
                  <a:close/>
                  <a:moveTo>
                    <a:pt x="339163" y="164306"/>
                  </a:moveTo>
                  <a:cubicBezTo>
                    <a:pt x="353443" y="176808"/>
                    <a:pt x="365939" y="183952"/>
                    <a:pt x="382004" y="183952"/>
                  </a:cubicBezTo>
                  <a:cubicBezTo>
                    <a:pt x="398070" y="183952"/>
                    <a:pt x="413243" y="175915"/>
                    <a:pt x="413243" y="160734"/>
                  </a:cubicBezTo>
                  <a:cubicBezTo>
                    <a:pt x="413243" y="147340"/>
                    <a:pt x="401640" y="140196"/>
                    <a:pt x="381112" y="131266"/>
                  </a:cubicBezTo>
                  <a:cubicBezTo>
                    <a:pt x="364153" y="124123"/>
                    <a:pt x="350765" y="118765"/>
                    <a:pt x="343625" y="107156"/>
                  </a:cubicBezTo>
                  <a:cubicBezTo>
                    <a:pt x="344518" y="111621"/>
                    <a:pt x="344518" y="116979"/>
                    <a:pt x="344518" y="121444"/>
                  </a:cubicBezTo>
                  <a:cubicBezTo>
                    <a:pt x="344518" y="163413"/>
                    <a:pt x="314172" y="197346"/>
                    <a:pt x="276685" y="197346"/>
                  </a:cubicBezTo>
                  <a:cubicBezTo>
                    <a:pt x="239199" y="197346"/>
                    <a:pt x="208853" y="163413"/>
                    <a:pt x="208853" y="121444"/>
                  </a:cubicBezTo>
                  <a:cubicBezTo>
                    <a:pt x="208853" y="96441"/>
                    <a:pt x="219563" y="73223"/>
                    <a:pt x="237414" y="59829"/>
                  </a:cubicBezTo>
                  <a:lnTo>
                    <a:pt x="191002" y="59829"/>
                  </a:lnTo>
                  <a:lnTo>
                    <a:pt x="191002" y="168771"/>
                  </a:lnTo>
                  <a:lnTo>
                    <a:pt x="191002" y="168771"/>
                  </a:lnTo>
                  <a:lnTo>
                    <a:pt x="191002" y="191095"/>
                  </a:lnTo>
                  <a:lnTo>
                    <a:pt x="170474" y="191095"/>
                  </a:lnTo>
                  <a:lnTo>
                    <a:pt x="170474" y="169664"/>
                  </a:lnTo>
                  <a:cubicBezTo>
                    <a:pt x="170474" y="169664"/>
                    <a:pt x="170474" y="168771"/>
                    <a:pt x="170474" y="168771"/>
                  </a:cubicBezTo>
                  <a:lnTo>
                    <a:pt x="170474" y="59829"/>
                  </a:lnTo>
                  <a:lnTo>
                    <a:pt x="152623" y="59829"/>
                  </a:lnTo>
                  <a:lnTo>
                    <a:pt x="152623" y="46434"/>
                  </a:lnTo>
                  <a:lnTo>
                    <a:pt x="171366" y="46434"/>
                  </a:lnTo>
                  <a:cubicBezTo>
                    <a:pt x="174044" y="18752"/>
                    <a:pt x="191002" y="2679"/>
                    <a:pt x="214208" y="2679"/>
                  </a:cubicBezTo>
                  <a:cubicBezTo>
                    <a:pt x="229381" y="2679"/>
                    <a:pt x="238306" y="4465"/>
                    <a:pt x="242769" y="6251"/>
                  </a:cubicBezTo>
                  <a:lnTo>
                    <a:pt x="242769" y="25003"/>
                  </a:lnTo>
                  <a:cubicBezTo>
                    <a:pt x="242769" y="26789"/>
                    <a:pt x="242769" y="27682"/>
                    <a:pt x="242769" y="27682"/>
                  </a:cubicBezTo>
                  <a:cubicBezTo>
                    <a:pt x="242769" y="27682"/>
                    <a:pt x="241876" y="27682"/>
                    <a:pt x="241876" y="27682"/>
                  </a:cubicBezTo>
                  <a:cubicBezTo>
                    <a:pt x="234736" y="20538"/>
                    <a:pt x="227596" y="16073"/>
                    <a:pt x="209745" y="16073"/>
                  </a:cubicBezTo>
                  <a:cubicBezTo>
                    <a:pt x="196357" y="16073"/>
                    <a:pt x="187432" y="26789"/>
                    <a:pt x="190110" y="46434"/>
                  </a:cubicBezTo>
                  <a:lnTo>
                    <a:pt x="266867" y="46434"/>
                  </a:lnTo>
                  <a:cubicBezTo>
                    <a:pt x="270438" y="45541"/>
                    <a:pt x="273115" y="45541"/>
                    <a:pt x="276685" y="45541"/>
                  </a:cubicBezTo>
                  <a:cubicBezTo>
                    <a:pt x="304354" y="45541"/>
                    <a:pt x="327560" y="63401"/>
                    <a:pt x="338270" y="89297"/>
                  </a:cubicBezTo>
                  <a:cubicBezTo>
                    <a:pt x="338270" y="87511"/>
                    <a:pt x="338270" y="86618"/>
                    <a:pt x="338270" y="84832"/>
                  </a:cubicBezTo>
                  <a:cubicBezTo>
                    <a:pt x="338270" y="58043"/>
                    <a:pt x="364153" y="46434"/>
                    <a:pt x="391822" y="46434"/>
                  </a:cubicBezTo>
                  <a:cubicBezTo>
                    <a:pt x="392715" y="46434"/>
                    <a:pt x="393607" y="46434"/>
                    <a:pt x="394500" y="46434"/>
                  </a:cubicBezTo>
                  <a:cubicBezTo>
                    <a:pt x="404317" y="46434"/>
                    <a:pt x="417705" y="49113"/>
                    <a:pt x="425738" y="51792"/>
                  </a:cubicBezTo>
                  <a:lnTo>
                    <a:pt x="432878" y="70545"/>
                  </a:lnTo>
                  <a:lnTo>
                    <a:pt x="441804" y="91976"/>
                  </a:lnTo>
                  <a:lnTo>
                    <a:pt x="465010" y="148233"/>
                  </a:lnTo>
                  <a:lnTo>
                    <a:pt x="467687" y="157163"/>
                  </a:lnTo>
                  <a:lnTo>
                    <a:pt x="470365" y="148233"/>
                  </a:lnTo>
                  <a:lnTo>
                    <a:pt x="499818" y="75902"/>
                  </a:lnTo>
                  <a:cubicBezTo>
                    <a:pt x="505174" y="56257"/>
                    <a:pt x="526594" y="47327"/>
                    <a:pt x="549800" y="47327"/>
                  </a:cubicBezTo>
                  <a:cubicBezTo>
                    <a:pt x="561403" y="47327"/>
                    <a:pt x="570329" y="49113"/>
                    <a:pt x="580146" y="52685"/>
                  </a:cubicBezTo>
                  <a:lnTo>
                    <a:pt x="580146" y="74116"/>
                  </a:lnTo>
                  <a:cubicBezTo>
                    <a:pt x="567651" y="65187"/>
                    <a:pt x="557833" y="59829"/>
                    <a:pt x="543553" y="59829"/>
                  </a:cubicBezTo>
                  <a:cubicBezTo>
                    <a:pt x="531057" y="59829"/>
                    <a:pt x="515884" y="65187"/>
                    <a:pt x="515884" y="83939"/>
                  </a:cubicBezTo>
                  <a:cubicBezTo>
                    <a:pt x="515884" y="98227"/>
                    <a:pt x="523917" y="100905"/>
                    <a:pt x="548908" y="112514"/>
                  </a:cubicBezTo>
                  <a:cubicBezTo>
                    <a:pt x="569436" y="121444"/>
                    <a:pt x="588179" y="131266"/>
                    <a:pt x="588179" y="153591"/>
                  </a:cubicBezTo>
                  <a:cubicBezTo>
                    <a:pt x="588179" y="191095"/>
                    <a:pt x="550693" y="197346"/>
                    <a:pt x="532842" y="198239"/>
                  </a:cubicBezTo>
                  <a:cubicBezTo>
                    <a:pt x="516777" y="198239"/>
                    <a:pt x="501604" y="194667"/>
                    <a:pt x="493571" y="187523"/>
                  </a:cubicBezTo>
                  <a:lnTo>
                    <a:pt x="493571" y="162520"/>
                  </a:lnTo>
                  <a:lnTo>
                    <a:pt x="494463" y="163413"/>
                  </a:lnTo>
                  <a:cubicBezTo>
                    <a:pt x="508744" y="176808"/>
                    <a:pt x="522132" y="183952"/>
                    <a:pt x="539090" y="183952"/>
                  </a:cubicBezTo>
                  <a:cubicBezTo>
                    <a:pt x="556048" y="183952"/>
                    <a:pt x="570329" y="175915"/>
                    <a:pt x="570329" y="160734"/>
                  </a:cubicBezTo>
                  <a:cubicBezTo>
                    <a:pt x="570329" y="147340"/>
                    <a:pt x="558726" y="140196"/>
                    <a:pt x="538197" y="131266"/>
                  </a:cubicBezTo>
                  <a:cubicBezTo>
                    <a:pt x="518562" y="122337"/>
                    <a:pt x="506066" y="116979"/>
                    <a:pt x="500711" y="102691"/>
                  </a:cubicBezTo>
                  <a:cubicBezTo>
                    <a:pt x="492678" y="122337"/>
                    <a:pt x="455192" y="212527"/>
                    <a:pt x="447159" y="232172"/>
                  </a:cubicBezTo>
                  <a:lnTo>
                    <a:pt x="427523" y="232172"/>
                  </a:lnTo>
                  <a:lnTo>
                    <a:pt x="431986" y="223242"/>
                  </a:lnTo>
                  <a:lnTo>
                    <a:pt x="436449" y="215206"/>
                  </a:lnTo>
                  <a:lnTo>
                    <a:pt x="436449" y="215206"/>
                  </a:lnTo>
                  <a:cubicBezTo>
                    <a:pt x="441804" y="205383"/>
                    <a:pt x="448944" y="190202"/>
                    <a:pt x="455192" y="175022"/>
                  </a:cubicBezTo>
                  <a:lnTo>
                    <a:pt x="416813" y="82153"/>
                  </a:lnTo>
                  <a:cubicBezTo>
                    <a:pt x="416813" y="81260"/>
                    <a:pt x="415920" y="80367"/>
                    <a:pt x="415028" y="76795"/>
                  </a:cubicBezTo>
                  <a:cubicBezTo>
                    <a:pt x="412350" y="69652"/>
                    <a:pt x="409673" y="63401"/>
                    <a:pt x="400747" y="60722"/>
                  </a:cubicBezTo>
                  <a:cubicBezTo>
                    <a:pt x="396285" y="58936"/>
                    <a:pt x="391822" y="58043"/>
                    <a:pt x="385574" y="58043"/>
                  </a:cubicBezTo>
                  <a:cubicBezTo>
                    <a:pt x="373079" y="58043"/>
                    <a:pt x="357013" y="63401"/>
                    <a:pt x="357013" y="82153"/>
                  </a:cubicBezTo>
                  <a:cubicBezTo>
                    <a:pt x="357013" y="96441"/>
                    <a:pt x="365939" y="99120"/>
                    <a:pt x="390929" y="110728"/>
                  </a:cubicBezTo>
                  <a:cubicBezTo>
                    <a:pt x="411458" y="119658"/>
                    <a:pt x="430201" y="129480"/>
                    <a:pt x="430201" y="151805"/>
                  </a:cubicBezTo>
                  <a:cubicBezTo>
                    <a:pt x="430201" y="189309"/>
                    <a:pt x="392715" y="195560"/>
                    <a:pt x="374864" y="196453"/>
                  </a:cubicBezTo>
                  <a:cubicBezTo>
                    <a:pt x="360583" y="196453"/>
                    <a:pt x="347195" y="192881"/>
                    <a:pt x="338270" y="187523"/>
                  </a:cubicBezTo>
                  <a:lnTo>
                    <a:pt x="338270" y="164306"/>
                  </a:lnTo>
                  <a:close/>
                  <a:moveTo>
                    <a:pt x="434664" y="70545"/>
                  </a:moveTo>
                  <a:cubicBezTo>
                    <a:pt x="434664" y="71438"/>
                    <a:pt x="435556" y="72331"/>
                    <a:pt x="435556" y="73223"/>
                  </a:cubicBezTo>
                  <a:lnTo>
                    <a:pt x="443589" y="91976"/>
                  </a:lnTo>
                  <a:lnTo>
                    <a:pt x="434664" y="70545"/>
                  </a:lnTo>
                  <a:close/>
                  <a:moveTo>
                    <a:pt x="432878" y="224135"/>
                  </a:moveTo>
                  <a:cubicBezTo>
                    <a:pt x="433771" y="222349"/>
                    <a:pt x="435556" y="219670"/>
                    <a:pt x="437341" y="216098"/>
                  </a:cubicBezTo>
                  <a:lnTo>
                    <a:pt x="432878" y="224135"/>
                  </a:lnTo>
                  <a:close/>
                  <a:moveTo>
                    <a:pt x="417705" y="82153"/>
                  </a:moveTo>
                  <a:cubicBezTo>
                    <a:pt x="418598" y="83046"/>
                    <a:pt x="416813" y="80367"/>
                    <a:pt x="416813" y="80367"/>
                  </a:cubicBezTo>
                  <a:lnTo>
                    <a:pt x="417705" y="82153"/>
                  </a:lnTo>
                  <a:close/>
                  <a:moveTo>
                    <a:pt x="230274" y="123230"/>
                  </a:moveTo>
                  <a:cubicBezTo>
                    <a:pt x="231166" y="157163"/>
                    <a:pt x="252587" y="184845"/>
                    <a:pt x="277578" y="183952"/>
                  </a:cubicBezTo>
                  <a:cubicBezTo>
                    <a:pt x="303461" y="183059"/>
                    <a:pt x="323990" y="155377"/>
                    <a:pt x="323097" y="121444"/>
                  </a:cubicBezTo>
                  <a:cubicBezTo>
                    <a:pt x="322204" y="87511"/>
                    <a:pt x="300784" y="59829"/>
                    <a:pt x="275793" y="60722"/>
                  </a:cubicBezTo>
                  <a:cubicBezTo>
                    <a:pt x="249909" y="60722"/>
                    <a:pt x="229381" y="89297"/>
                    <a:pt x="230274" y="123230"/>
                  </a:cubicBezTo>
                  <a:moveTo>
                    <a:pt x="0" y="26789"/>
                  </a:moveTo>
                  <a:lnTo>
                    <a:pt x="0" y="26789"/>
                  </a:lnTo>
                  <a:lnTo>
                    <a:pt x="0" y="3572"/>
                  </a:lnTo>
                  <a:lnTo>
                    <a:pt x="22313" y="3572"/>
                  </a:lnTo>
                  <a:lnTo>
                    <a:pt x="22313" y="25896"/>
                  </a:lnTo>
                  <a:lnTo>
                    <a:pt x="22313" y="25896"/>
                  </a:lnTo>
                  <a:lnTo>
                    <a:pt x="22313" y="168771"/>
                  </a:lnTo>
                  <a:lnTo>
                    <a:pt x="22313" y="169664"/>
                  </a:lnTo>
                  <a:lnTo>
                    <a:pt x="22313" y="191988"/>
                  </a:lnTo>
                  <a:lnTo>
                    <a:pt x="0" y="191988"/>
                  </a:lnTo>
                  <a:lnTo>
                    <a:pt x="0" y="169664"/>
                  </a:lnTo>
                  <a:lnTo>
                    <a:pt x="0" y="169664"/>
                  </a:lnTo>
                  <a:lnTo>
                    <a:pt x="0" y="26789"/>
                  </a:lnTo>
                  <a:close/>
                  <a:moveTo>
                    <a:pt x="610493" y="10716"/>
                  </a:moveTo>
                  <a:lnTo>
                    <a:pt x="614955" y="10716"/>
                  </a:lnTo>
                  <a:cubicBezTo>
                    <a:pt x="616740" y="10716"/>
                    <a:pt x="618525" y="11609"/>
                    <a:pt x="618525" y="13395"/>
                  </a:cubicBezTo>
                  <a:cubicBezTo>
                    <a:pt x="618525" y="15181"/>
                    <a:pt x="616740" y="16073"/>
                    <a:pt x="615848" y="16073"/>
                  </a:cubicBezTo>
                  <a:lnTo>
                    <a:pt x="611385" y="16073"/>
                  </a:lnTo>
                  <a:lnTo>
                    <a:pt x="611385" y="10716"/>
                  </a:lnTo>
                  <a:close/>
                  <a:moveTo>
                    <a:pt x="606922" y="27682"/>
                  </a:moveTo>
                  <a:lnTo>
                    <a:pt x="610493" y="27682"/>
                  </a:lnTo>
                  <a:lnTo>
                    <a:pt x="610493" y="19645"/>
                  </a:lnTo>
                  <a:lnTo>
                    <a:pt x="614955" y="19645"/>
                  </a:lnTo>
                  <a:lnTo>
                    <a:pt x="618525" y="27682"/>
                  </a:lnTo>
                  <a:lnTo>
                    <a:pt x="622988" y="27682"/>
                  </a:lnTo>
                  <a:lnTo>
                    <a:pt x="619418" y="18752"/>
                  </a:lnTo>
                  <a:cubicBezTo>
                    <a:pt x="620310" y="17859"/>
                    <a:pt x="622988" y="16966"/>
                    <a:pt x="622988" y="13395"/>
                  </a:cubicBezTo>
                  <a:cubicBezTo>
                    <a:pt x="622988" y="7144"/>
                    <a:pt x="618525" y="7144"/>
                    <a:pt x="614955" y="7144"/>
                  </a:cubicBezTo>
                  <a:lnTo>
                    <a:pt x="607815" y="7144"/>
                  </a:lnTo>
                  <a:lnTo>
                    <a:pt x="607815" y="27682"/>
                  </a:lnTo>
                  <a:close/>
                  <a:moveTo>
                    <a:pt x="597105" y="17859"/>
                  </a:moveTo>
                  <a:cubicBezTo>
                    <a:pt x="597105" y="8930"/>
                    <a:pt x="604245" y="1786"/>
                    <a:pt x="613170" y="1786"/>
                  </a:cubicBezTo>
                  <a:cubicBezTo>
                    <a:pt x="622095" y="1786"/>
                    <a:pt x="629236" y="8930"/>
                    <a:pt x="629236" y="17859"/>
                  </a:cubicBezTo>
                  <a:cubicBezTo>
                    <a:pt x="629236" y="26789"/>
                    <a:pt x="622095" y="33933"/>
                    <a:pt x="613170" y="33933"/>
                  </a:cubicBezTo>
                  <a:cubicBezTo>
                    <a:pt x="605137" y="33933"/>
                    <a:pt x="597105" y="26789"/>
                    <a:pt x="597105" y="17859"/>
                  </a:cubicBezTo>
                  <a:moveTo>
                    <a:pt x="614063" y="37505"/>
                  </a:moveTo>
                  <a:cubicBezTo>
                    <a:pt x="624773" y="37505"/>
                    <a:pt x="632806" y="28575"/>
                    <a:pt x="632806" y="18752"/>
                  </a:cubicBezTo>
                  <a:cubicBezTo>
                    <a:pt x="632806" y="8037"/>
                    <a:pt x="623881" y="0"/>
                    <a:pt x="614063" y="0"/>
                  </a:cubicBezTo>
                  <a:cubicBezTo>
                    <a:pt x="603352" y="0"/>
                    <a:pt x="595319" y="8930"/>
                    <a:pt x="595319" y="18752"/>
                  </a:cubicBezTo>
                  <a:cubicBezTo>
                    <a:pt x="594427" y="28575"/>
                    <a:pt x="603352" y="37505"/>
                    <a:pt x="614063" y="37505"/>
                  </a:cubicBezTo>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grpSp>
          <p:nvGrpSpPr>
            <p:cNvPr id="8" name="Graphic 27">
              <a:extLst>
                <a:ext uri="{FF2B5EF4-FFF2-40B4-BE49-F238E27FC236}">
                  <a16:creationId xmlns:a16="http://schemas.microsoft.com/office/drawing/2014/main" id="{8F008D1D-E1B7-7447-8AF2-5564B284188F}"/>
                </a:ext>
              </a:extLst>
            </p:cNvPr>
            <p:cNvGrpSpPr/>
            <p:nvPr/>
          </p:nvGrpSpPr>
          <p:grpSpPr>
            <a:xfrm>
              <a:off x="5673009" y="1856926"/>
              <a:ext cx="1026412" cy="131266"/>
              <a:chOff x="5673009" y="1856926"/>
              <a:chExt cx="1026412" cy="131266"/>
            </a:xfrm>
            <a:grpFill/>
          </p:grpSpPr>
          <p:sp>
            <p:nvSpPr>
              <p:cNvPr id="10" name="Freeform 9">
                <a:extLst>
                  <a:ext uri="{FF2B5EF4-FFF2-40B4-BE49-F238E27FC236}">
                    <a16:creationId xmlns:a16="http://schemas.microsoft.com/office/drawing/2014/main" id="{9A9A4732-3475-234C-9793-E4CA557BCE10}"/>
                  </a:ext>
                </a:extLst>
              </p:cNvPr>
              <p:cNvSpPr/>
              <p:nvPr/>
            </p:nvSpPr>
            <p:spPr>
              <a:xfrm>
                <a:off x="5673009" y="1856926"/>
                <a:ext cx="97286" cy="129480"/>
              </a:xfrm>
              <a:custGeom>
                <a:avLst/>
                <a:gdLst>
                  <a:gd name="connsiteX0" fmla="*/ 96394 w 97286"/>
                  <a:gd name="connsiteY0" fmla="*/ 124123 h 129480"/>
                  <a:gd name="connsiteX1" fmla="*/ 64262 w 97286"/>
                  <a:gd name="connsiteY1" fmla="*/ 129480 h 129480"/>
                  <a:gd name="connsiteX2" fmla="*/ 0 w 97286"/>
                  <a:gd name="connsiteY2" fmla="*/ 66080 h 129480"/>
                  <a:gd name="connsiteX3" fmla="*/ 66940 w 97286"/>
                  <a:gd name="connsiteY3" fmla="*/ 0 h 129480"/>
                  <a:gd name="connsiteX4" fmla="*/ 97286 w 97286"/>
                  <a:gd name="connsiteY4" fmla="*/ 5358 h 129480"/>
                  <a:gd name="connsiteX5" fmla="*/ 91931 w 97286"/>
                  <a:gd name="connsiteY5" fmla="*/ 23217 h 129480"/>
                  <a:gd name="connsiteX6" fmla="*/ 67832 w 97286"/>
                  <a:gd name="connsiteY6" fmla="*/ 18752 h 129480"/>
                  <a:gd name="connsiteX7" fmla="*/ 24098 w 97286"/>
                  <a:gd name="connsiteY7" fmla="*/ 65187 h 129480"/>
                  <a:gd name="connsiteX8" fmla="*/ 67832 w 97286"/>
                  <a:gd name="connsiteY8" fmla="*/ 110728 h 129480"/>
                  <a:gd name="connsiteX9" fmla="*/ 92823 w 97286"/>
                  <a:gd name="connsiteY9" fmla="*/ 106263 h 129480"/>
                  <a:gd name="connsiteX10" fmla="*/ 96394 w 97286"/>
                  <a:gd name="connsiteY10" fmla="*/ 124123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9480">
                    <a:moveTo>
                      <a:pt x="96394" y="124123"/>
                    </a:moveTo>
                    <a:cubicBezTo>
                      <a:pt x="91038" y="126802"/>
                      <a:pt x="79435" y="129480"/>
                      <a:pt x="64262" y="129480"/>
                    </a:cubicBezTo>
                    <a:cubicBezTo>
                      <a:pt x="24098" y="129480"/>
                      <a:pt x="0" y="104477"/>
                      <a:pt x="0" y="66080"/>
                    </a:cubicBezTo>
                    <a:cubicBezTo>
                      <a:pt x="0" y="25003"/>
                      <a:pt x="28561" y="0"/>
                      <a:pt x="66940" y="0"/>
                    </a:cubicBezTo>
                    <a:cubicBezTo>
                      <a:pt x="82113" y="0"/>
                      <a:pt x="92823" y="3572"/>
                      <a:pt x="97286" y="5358"/>
                    </a:cubicBezTo>
                    <a:lnTo>
                      <a:pt x="91931" y="23217"/>
                    </a:lnTo>
                    <a:cubicBezTo>
                      <a:pt x="85683" y="20538"/>
                      <a:pt x="77650" y="18752"/>
                      <a:pt x="67832" y="18752"/>
                    </a:cubicBezTo>
                    <a:cubicBezTo>
                      <a:pt x="41949" y="18752"/>
                      <a:pt x="24098" y="34826"/>
                      <a:pt x="24098" y="65187"/>
                    </a:cubicBezTo>
                    <a:cubicBezTo>
                      <a:pt x="24098" y="92869"/>
                      <a:pt x="40164" y="110728"/>
                      <a:pt x="67832" y="110728"/>
                    </a:cubicBezTo>
                    <a:cubicBezTo>
                      <a:pt x="76758" y="110728"/>
                      <a:pt x="86576" y="108942"/>
                      <a:pt x="92823" y="106263"/>
                    </a:cubicBezTo>
                    <a:lnTo>
                      <a:pt x="96394" y="124123"/>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1" name="Freeform 10">
                <a:extLst>
                  <a:ext uri="{FF2B5EF4-FFF2-40B4-BE49-F238E27FC236}">
                    <a16:creationId xmlns:a16="http://schemas.microsoft.com/office/drawing/2014/main" id="{BAA721F9-C474-D844-BE40-F2B9086E59F6}"/>
                  </a:ext>
                </a:extLst>
              </p:cNvPr>
              <p:cNvSpPr/>
              <p:nvPr/>
            </p:nvSpPr>
            <p:spPr>
              <a:xfrm>
                <a:off x="5779220" y="1858691"/>
                <a:ext cx="117814" cy="128608"/>
              </a:xfrm>
              <a:custGeom>
                <a:avLst/>
                <a:gdLst>
                  <a:gd name="connsiteX0" fmla="*/ 117814 w 117814"/>
                  <a:gd name="connsiteY0" fmla="*/ 62529 h 128608"/>
                  <a:gd name="connsiteX1" fmla="*/ 58015 w 117814"/>
                  <a:gd name="connsiteY1" fmla="*/ 128609 h 128608"/>
                  <a:gd name="connsiteX2" fmla="*/ 0 w 117814"/>
                  <a:gd name="connsiteY2" fmla="*/ 65208 h 128608"/>
                  <a:gd name="connsiteX3" fmla="*/ 59800 w 117814"/>
                  <a:gd name="connsiteY3" fmla="*/ 21 h 128608"/>
                  <a:gd name="connsiteX4" fmla="*/ 117814 w 117814"/>
                  <a:gd name="connsiteY4" fmla="*/ 62529 h 128608"/>
                  <a:gd name="connsiteX5" fmla="*/ 24098 w 117814"/>
                  <a:gd name="connsiteY5" fmla="*/ 64315 h 128608"/>
                  <a:gd name="connsiteX6" fmla="*/ 58907 w 117814"/>
                  <a:gd name="connsiteY6" fmla="*/ 109856 h 128608"/>
                  <a:gd name="connsiteX7" fmla="*/ 93716 w 117814"/>
                  <a:gd name="connsiteY7" fmla="*/ 63422 h 128608"/>
                  <a:gd name="connsiteX8" fmla="*/ 58907 w 117814"/>
                  <a:gd name="connsiteY8" fmla="*/ 16987 h 128608"/>
                  <a:gd name="connsiteX9" fmla="*/ 24098 w 117814"/>
                  <a:gd name="connsiteY9" fmla="*/ 64315 h 128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814" h="128608">
                    <a:moveTo>
                      <a:pt x="117814" y="62529"/>
                    </a:moveTo>
                    <a:cubicBezTo>
                      <a:pt x="117814" y="104498"/>
                      <a:pt x="91931" y="128609"/>
                      <a:pt x="58015" y="128609"/>
                    </a:cubicBezTo>
                    <a:cubicBezTo>
                      <a:pt x="22313" y="128609"/>
                      <a:pt x="0" y="101819"/>
                      <a:pt x="0" y="65208"/>
                    </a:cubicBezTo>
                    <a:cubicBezTo>
                      <a:pt x="0" y="26810"/>
                      <a:pt x="24098" y="21"/>
                      <a:pt x="59800" y="21"/>
                    </a:cubicBezTo>
                    <a:cubicBezTo>
                      <a:pt x="95501" y="-872"/>
                      <a:pt x="117814" y="26810"/>
                      <a:pt x="117814" y="62529"/>
                    </a:cubicBezTo>
                    <a:close/>
                    <a:moveTo>
                      <a:pt x="24098" y="64315"/>
                    </a:moveTo>
                    <a:cubicBezTo>
                      <a:pt x="24098" y="90211"/>
                      <a:pt x="36594" y="109856"/>
                      <a:pt x="58907" y="109856"/>
                    </a:cubicBezTo>
                    <a:cubicBezTo>
                      <a:pt x="81221" y="109856"/>
                      <a:pt x="93716" y="89318"/>
                      <a:pt x="93716" y="63422"/>
                    </a:cubicBezTo>
                    <a:cubicBezTo>
                      <a:pt x="93716" y="40205"/>
                      <a:pt x="82113" y="16987"/>
                      <a:pt x="58907" y="16987"/>
                    </a:cubicBezTo>
                    <a:cubicBezTo>
                      <a:pt x="35701" y="16987"/>
                      <a:pt x="24098" y="38419"/>
                      <a:pt x="24098" y="64315"/>
                    </a:cubicBez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2" name="Freeform 11">
                <a:extLst>
                  <a:ext uri="{FF2B5EF4-FFF2-40B4-BE49-F238E27FC236}">
                    <a16:creationId xmlns:a16="http://schemas.microsoft.com/office/drawing/2014/main" id="{35A0159D-2DFA-6144-812C-03BC424EB00D}"/>
                  </a:ext>
                </a:extLst>
              </p:cNvPr>
              <p:cNvSpPr/>
              <p:nvPr/>
            </p:nvSpPr>
            <p:spPr>
              <a:xfrm>
                <a:off x="5913100" y="1859605"/>
                <a:ext cx="99070" cy="125015"/>
              </a:xfrm>
              <a:custGeom>
                <a:avLst/>
                <a:gdLst>
                  <a:gd name="connsiteX0" fmla="*/ 0 w 99070"/>
                  <a:gd name="connsiteY0" fmla="*/ 125016 h 125015"/>
                  <a:gd name="connsiteX1" fmla="*/ 0 w 99070"/>
                  <a:gd name="connsiteY1" fmla="*/ 0 h 125015"/>
                  <a:gd name="connsiteX2" fmla="*/ 25883 w 99070"/>
                  <a:gd name="connsiteY2" fmla="*/ 0 h 125015"/>
                  <a:gd name="connsiteX3" fmla="*/ 58015 w 99070"/>
                  <a:gd name="connsiteY3" fmla="*/ 53578 h 125015"/>
                  <a:gd name="connsiteX4" fmla="*/ 79435 w 99070"/>
                  <a:gd name="connsiteY4" fmla="*/ 95548 h 125015"/>
                  <a:gd name="connsiteX5" fmla="*/ 79435 w 99070"/>
                  <a:gd name="connsiteY5" fmla="*/ 95548 h 125015"/>
                  <a:gd name="connsiteX6" fmla="*/ 77650 w 99070"/>
                  <a:gd name="connsiteY6" fmla="*/ 43755 h 125015"/>
                  <a:gd name="connsiteX7" fmla="*/ 77650 w 99070"/>
                  <a:gd name="connsiteY7" fmla="*/ 0 h 125015"/>
                  <a:gd name="connsiteX8" fmla="*/ 99071 w 99070"/>
                  <a:gd name="connsiteY8" fmla="*/ 0 h 125015"/>
                  <a:gd name="connsiteX9" fmla="*/ 99071 w 99070"/>
                  <a:gd name="connsiteY9" fmla="*/ 125016 h 125015"/>
                  <a:gd name="connsiteX10" fmla="*/ 75865 w 99070"/>
                  <a:gd name="connsiteY10" fmla="*/ 125016 h 125015"/>
                  <a:gd name="connsiteX11" fmla="*/ 42841 w 99070"/>
                  <a:gd name="connsiteY11" fmla="*/ 69652 h 125015"/>
                  <a:gd name="connsiteX12" fmla="*/ 20528 w 99070"/>
                  <a:gd name="connsiteY12" fmla="*/ 26789 h 125015"/>
                  <a:gd name="connsiteX13" fmla="*/ 19636 w 99070"/>
                  <a:gd name="connsiteY13" fmla="*/ 26789 h 125015"/>
                  <a:gd name="connsiteX14" fmla="*/ 20528 w 99070"/>
                  <a:gd name="connsiteY14" fmla="*/ 80367 h 125015"/>
                  <a:gd name="connsiteX15" fmla="*/ 20528 w 99070"/>
                  <a:gd name="connsiteY15" fmla="*/ 125016 h 125015"/>
                  <a:gd name="connsiteX16" fmla="*/ 0 w 99070"/>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0" h="125015">
                    <a:moveTo>
                      <a:pt x="0" y="125016"/>
                    </a:moveTo>
                    <a:lnTo>
                      <a:pt x="0" y="0"/>
                    </a:lnTo>
                    <a:lnTo>
                      <a:pt x="25883" y="0"/>
                    </a:lnTo>
                    <a:lnTo>
                      <a:pt x="58015" y="53578"/>
                    </a:lnTo>
                    <a:cubicBezTo>
                      <a:pt x="66047" y="67866"/>
                      <a:pt x="73188" y="82153"/>
                      <a:pt x="79435" y="95548"/>
                    </a:cubicBezTo>
                    <a:lnTo>
                      <a:pt x="79435" y="95548"/>
                    </a:lnTo>
                    <a:cubicBezTo>
                      <a:pt x="77650" y="78581"/>
                      <a:pt x="77650" y="62508"/>
                      <a:pt x="77650" y="43755"/>
                    </a:cubicBezTo>
                    <a:lnTo>
                      <a:pt x="77650" y="0"/>
                    </a:lnTo>
                    <a:lnTo>
                      <a:pt x="99071" y="0"/>
                    </a:lnTo>
                    <a:lnTo>
                      <a:pt x="99071" y="125016"/>
                    </a:lnTo>
                    <a:lnTo>
                      <a:pt x="75865" y="125016"/>
                    </a:lnTo>
                    <a:lnTo>
                      <a:pt x="42841"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3" name="Freeform 12">
                <a:extLst>
                  <a:ext uri="{FF2B5EF4-FFF2-40B4-BE49-F238E27FC236}">
                    <a16:creationId xmlns:a16="http://schemas.microsoft.com/office/drawing/2014/main" id="{D702AB83-2D1F-824C-93C3-D700B1935A6E}"/>
                  </a:ext>
                </a:extLst>
              </p:cNvPr>
              <p:cNvSpPr/>
              <p:nvPr/>
            </p:nvSpPr>
            <p:spPr>
              <a:xfrm>
                <a:off x="6030915" y="1858712"/>
                <a:ext cx="81220" cy="129480"/>
              </a:xfrm>
              <a:custGeom>
                <a:avLst/>
                <a:gdLst>
                  <a:gd name="connsiteX0" fmla="*/ 3570 w 81220"/>
                  <a:gd name="connsiteY0" fmla="*/ 101798 h 129480"/>
                  <a:gd name="connsiteX1" fmla="*/ 33916 w 81220"/>
                  <a:gd name="connsiteY1" fmla="*/ 109835 h 129480"/>
                  <a:gd name="connsiteX2" fmla="*/ 57122 w 81220"/>
                  <a:gd name="connsiteY2" fmla="*/ 92869 h 129480"/>
                  <a:gd name="connsiteX3" fmla="*/ 34809 w 81220"/>
                  <a:gd name="connsiteY3" fmla="*/ 72330 h 129480"/>
                  <a:gd name="connsiteX4" fmla="*/ 893 w 81220"/>
                  <a:gd name="connsiteY4" fmla="*/ 35719 h 129480"/>
                  <a:gd name="connsiteX5" fmla="*/ 45519 w 81220"/>
                  <a:gd name="connsiteY5" fmla="*/ 0 h 129480"/>
                  <a:gd name="connsiteX6" fmla="*/ 75865 w 81220"/>
                  <a:gd name="connsiteY6" fmla="*/ 6251 h 129480"/>
                  <a:gd name="connsiteX7" fmla="*/ 70510 w 81220"/>
                  <a:gd name="connsiteY7" fmla="*/ 25003 h 129480"/>
                  <a:gd name="connsiteX8" fmla="*/ 45519 w 81220"/>
                  <a:gd name="connsiteY8" fmla="*/ 18752 h 129480"/>
                  <a:gd name="connsiteX9" fmla="*/ 24991 w 81220"/>
                  <a:gd name="connsiteY9" fmla="*/ 33933 h 129480"/>
                  <a:gd name="connsiteX10" fmla="*/ 49089 w 81220"/>
                  <a:gd name="connsiteY10" fmla="*/ 54471 h 129480"/>
                  <a:gd name="connsiteX11" fmla="*/ 81221 w 81220"/>
                  <a:gd name="connsiteY11" fmla="*/ 91976 h 129480"/>
                  <a:gd name="connsiteX12" fmla="*/ 33916 w 81220"/>
                  <a:gd name="connsiteY12" fmla="*/ 129480 h 129480"/>
                  <a:gd name="connsiteX13" fmla="*/ 0 w 81220"/>
                  <a:gd name="connsiteY13" fmla="*/ 121444 h 129480"/>
                  <a:gd name="connsiteX14" fmla="*/ 3570 w 81220"/>
                  <a:gd name="connsiteY14" fmla="*/ 101798 h 12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20" h="129480">
                    <a:moveTo>
                      <a:pt x="3570" y="101798"/>
                    </a:moveTo>
                    <a:cubicBezTo>
                      <a:pt x="10711" y="106263"/>
                      <a:pt x="22313" y="109835"/>
                      <a:pt x="33916" y="109835"/>
                    </a:cubicBezTo>
                    <a:cubicBezTo>
                      <a:pt x="48197" y="109835"/>
                      <a:pt x="57122" y="102691"/>
                      <a:pt x="57122" y="92869"/>
                    </a:cubicBezTo>
                    <a:cubicBezTo>
                      <a:pt x="57122" y="83046"/>
                      <a:pt x="50874" y="77688"/>
                      <a:pt x="34809" y="72330"/>
                    </a:cubicBezTo>
                    <a:cubicBezTo>
                      <a:pt x="14281" y="65187"/>
                      <a:pt x="893" y="53578"/>
                      <a:pt x="893" y="35719"/>
                    </a:cubicBezTo>
                    <a:cubicBezTo>
                      <a:pt x="893" y="15180"/>
                      <a:pt x="17851" y="0"/>
                      <a:pt x="45519" y="0"/>
                    </a:cubicBezTo>
                    <a:cubicBezTo>
                      <a:pt x="58907" y="0"/>
                      <a:pt x="68725" y="2679"/>
                      <a:pt x="75865" y="6251"/>
                    </a:cubicBezTo>
                    <a:lnTo>
                      <a:pt x="70510" y="25003"/>
                    </a:lnTo>
                    <a:cubicBezTo>
                      <a:pt x="66047" y="22324"/>
                      <a:pt x="57122" y="18752"/>
                      <a:pt x="45519" y="18752"/>
                    </a:cubicBezTo>
                    <a:cubicBezTo>
                      <a:pt x="31239" y="18752"/>
                      <a:pt x="24991" y="26789"/>
                      <a:pt x="24991" y="33933"/>
                    </a:cubicBezTo>
                    <a:cubicBezTo>
                      <a:pt x="24991" y="43755"/>
                      <a:pt x="32131" y="48220"/>
                      <a:pt x="49089" y="54471"/>
                    </a:cubicBezTo>
                    <a:cubicBezTo>
                      <a:pt x="70510" y="62508"/>
                      <a:pt x="81221" y="73223"/>
                      <a:pt x="81221" y="91976"/>
                    </a:cubicBezTo>
                    <a:cubicBezTo>
                      <a:pt x="81221" y="111621"/>
                      <a:pt x="66047" y="129480"/>
                      <a:pt x="33916" y="129480"/>
                    </a:cubicBezTo>
                    <a:cubicBezTo>
                      <a:pt x="20528" y="129480"/>
                      <a:pt x="7140" y="125909"/>
                      <a:pt x="0" y="121444"/>
                    </a:cubicBezTo>
                    <a:lnTo>
                      <a:pt x="3570" y="101798"/>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4" name="Freeform 13">
                <a:extLst>
                  <a:ext uri="{FF2B5EF4-FFF2-40B4-BE49-F238E27FC236}">
                    <a16:creationId xmlns:a16="http://schemas.microsoft.com/office/drawing/2014/main" id="{62658A56-1AB9-2F4E-B1F4-628AB4BAA3D8}"/>
                  </a:ext>
                </a:extLst>
              </p:cNvPr>
              <p:cNvSpPr/>
              <p:nvPr/>
            </p:nvSpPr>
            <p:spPr>
              <a:xfrm>
                <a:off x="6129093" y="1859605"/>
                <a:ext cx="97286" cy="126801"/>
              </a:xfrm>
              <a:custGeom>
                <a:avLst/>
                <a:gdLst>
                  <a:gd name="connsiteX0" fmla="*/ 21421 w 97286"/>
                  <a:gd name="connsiteY0" fmla="*/ 0 h 126801"/>
                  <a:gd name="connsiteX1" fmla="*/ 21421 w 97286"/>
                  <a:gd name="connsiteY1" fmla="*/ 73223 h 126801"/>
                  <a:gd name="connsiteX2" fmla="*/ 47304 w 97286"/>
                  <a:gd name="connsiteY2" fmla="*/ 108942 h 126801"/>
                  <a:gd name="connsiteX3" fmla="*/ 74080 w 97286"/>
                  <a:gd name="connsiteY3" fmla="*/ 73223 h 126801"/>
                  <a:gd name="connsiteX4" fmla="*/ 74080 w 97286"/>
                  <a:gd name="connsiteY4" fmla="*/ 0 h 126801"/>
                  <a:gd name="connsiteX5" fmla="*/ 97286 w 97286"/>
                  <a:gd name="connsiteY5" fmla="*/ 0 h 126801"/>
                  <a:gd name="connsiteX6" fmla="*/ 97286 w 97286"/>
                  <a:gd name="connsiteY6" fmla="*/ 71438 h 126801"/>
                  <a:gd name="connsiteX7" fmla="*/ 47304 w 97286"/>
                  <a:gd name="connsiteY7" fmla="*/ 126802 h 126801"/>
                  <a:gd name="connsiteX8" fmla="*/ 0 w 97286"/>
                  <a:gd name="connsiteY8" fmla="*/ 71438 h 126801"/>
                  <a:gd name="connsiteX9" fmla="*/ 0 w 97286"/>
                  <a:gd name="connsiteY9" fmla="*/ 0 h 126801"/>
                  <a:gd name="connsiteX10" fmla="*/ 21421 w 97286"/>
                  <a:gd name="connsiteY10" fmla="*/ 0 h 12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286" h="126801">
                    <a:moveTo>
                      <a:pt x="21421" y="0"/>
                    </a:moveTo>
                    <a:lnTo>
                      <a:pt x="21421" y="73223"/>
                    </a:lnTo>
                    <a:cubicBezTo>
                      <a:pt x="21421" y="97334"/>
                      <a:pt x="31239" y="108942"/>
                      <a:pt x="47304" y="108942"/>
                    </a:cubicBezTo>
                    <a:cubicBezTo>
                      <a:pt x="64262" y="108942"/>
                      <a:pt x="74080" y="97334"/>
                      <a:pt x="74080" y="73223"/>
                    </a:cubicBezTo>
                    <a:lnTo>
                      <a:pt x="74080" y="0"/>
                    </a:lnTo>
                    <a:lnTo>
                      <a:pt x="97286" y="0"/>
                    </a:lnTo>
                    <a:lnTo>
                      <a:pt x="97286" y="71438"/>
                    </a:lnTo>
                    <a:cubicBezTo>
                      <a:pt x="97286" y="109835"/>
                      <a:pt x="77650" y="126802"/>
                      <a:pt x="47304" y="126802"/>
                    </a:cubicBezTo>
                    <a:cubicBezTo>
                      <a:pt x="18743" y="126802"/>
                      <a:pt x="0" y="110728"/>
                      <a:pt x="0" y="71438"/>
                    </a:cubicBezTo>
                    <a:lnTo>
                      <a:pt x="0" y="0"/>
                    </a:lnTo>
                    <a:lnTo>
                      <a:pt x="21421" y="0"/>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5" name="Freeform 14">
                <a:extLst>
                  <a:ext uri="{FF2B5EF4-FFF2-40B4-BE49-F238E27FC236}">
                    <a16:creationId xmlns:a16="http://schemas.microsoft.com/office/drawing/2014/main" id="{4DA5EBB0-C672-7946-BC62-EE84D10D2A3D}"/>
                  </a:ext>
                </a:extLst>
              </p:cNvPr>
              <p:cNvSpPr/>
              <p:nvPr/>
            </p:nvSpPr>
            <p:spPr>
              <a:xfrm>
                <a:off x="6248693" y="1859605"/>
                <a:ext cx="74972" cy="125015"/>
              </a:xfrm>
              <a:custGeom>
                <a:avLst/>
                <a:gdLst>
                  <a:gd name="connsiteX0" fmla="*/ 0 w 74972"/>
                  <a:gd name="connsiteY0" fmla="*/ 0 h 125015"/>
                  <a:gd name="connsiteX1" fmla="*/ 23206 w 74972"/>
                  <a:gd name="connsiteY1" fmla="*/ 0 h 125015"/>
                  <a:gd name="connsiteX2" fmla="*/ 23206 w 74972"/>
                  <a:gd name="connsiteY2" fmla="*/ 106263 h 125015"/>
                  <a:gd name="connsiteX3" fmla="*/ 74973 w 74972"/>
                  <a:gd name="connsiteY3" fmla="*/ 106263 h 125015"/>
                  <a:gd name="connsiteX4" fmla="*/ 74973 w 74972"/>
                  <a:gd name="connsiteY4" fmla="*/ 125016 h 125015"/>
                  <a:gd name="connsiteX5" fmla="*/ 893 w 74972"/>
                  <a:gd name="connsiteY5" fmla="*/ 125016 h 125015"/>
                  <a:gd name="connsiteX6" fmla="*/ 893 w 74972"/>
                  <a:gd name="connsiteY6" fmla="*/ 0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972" h="125015">
                    <a:moveTo>
                      <a:pt x="0" y="0"/>
                    </a:moveTo>
                    <a:lnTo>
                      <a:pt x="23206" y="0"/>
                    </a:lnTo>
                    <a:lnTo>
                      <a:pt x="23206" y="106263"/>
                    </a:lnTo>
                    <a:lnTo>
                      <a:pt x="74973" y="106263"/>
                    </a:lnTo>
                    <a:lnTo>
                      <a:pt x="74973" y="125016"/>
                    </a:lnTo>
                    <a:lnTo>
                      <a:pt x="893" y="125016"/>
                    </a:lnTo>
                    <a:lnTo>
                      <a:pt x="893" y="0"/>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6" name="Freeform 15">
                <a:extLst>
                  <a:ext uri="{FF2B5EF4-FFF2-40B4-BE49-F238E27FC236}">
                    <a16:creationId xmlns:a16="http://schemas.microsoft.com/office/drawing/2014/main" id="{40E9A223-E428-EF46-ADE4-C4839AE54365}"/>
                  </a:ext>
                </a:extLst>
              </p:cNvPr>
              <p:cNvSpPr/>
              <p:nvPr/>
            </p:nvSpPr>
            <p:spPr>
              <a:xfrm>
                <a:off x="6324558" y="1859605"/>
                <a:ext cx="94608" cy="125015"/>
              </a:xfrm>
              <a:custGeom>
                <a:avLst/>
                <a:gdLst>
                  <a:gd name="connsiteX0" fmla="*/ 35701 w 94608"/>
                  <a:gd name="connsiteY0" fmla="*/ 19645 h 125015"/>
                  <a:gd name="connsiteX1" fmla="*/ 0 w 94608"/>
                  <a:gd name="connsiteY1" fmla="*/ 19645 h 125015"/>
                  <a:gd name="connsiteX2" fmla="*/ 0 w 94608"/>
                  <a:gd name="connsiteY2" fmla="*/ 0 h 125015"/>
                  <a:gd name="connsiteX3" fmla="*/ 94609 w 94608"/>
                  <a:gd name="connsiteY3" fmla="*/ 0 h 125015"/>
                  <a:gd name="connsiteX4" fmla="*/ 94609 w 94608"/>
                  <a:gd name="connsiteY4" fmla="*/ 18752 h 125015"/>
                  <a:gd name="connsiteX5" fmla="*/ 58907 w 94608"/>
                  <a:gd name="connsiteY5" fmla="*/ 18752 h 125015"/>
                  <a:gd name="connsiteX6" fmla="*/ 58907 w 94608"/>
                  <a:gd name="connsiteY6" fmla="*/ 125016 h 125015"/>
                  <a:gd name="connsiteX7" fmla="*/ 35701 w 94608"/>
                  <a:gd name="connsiteY7" fmla="*/ 125016 h 125015"/>
                  <a:gd name="connsiteX8" fmla="*/ 35701 w 94608"/>
                  <a:gd name="connsiteY8" fmla="*/ 19645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08" h="125015">
                    <a:moveTo>
                      <a:pt x="35701" y="19645"/>
                    </a:moveTo>
                    <a:lnTo>
                      <a:pt x="0" y="19645"/>
                    </a:lnTo>
                    <a:lnTo>
                      <a:pt x="0" y="0"/>
                    </a:lnTo>
                    <a:lnTo>
                      <a:pt x="94609" y="0"/>
                    </a:lnTo>
                    <a:lnTo>
                      <a:pt x="94609" y="18752"/>
                    </a:lnTo>
                    <a:lnTo>
                      <a:pt x="58907" y="18752"/>
                    </a:lnTo>
                    <a:lnTo>
                      <a:pt x="58907" y="125016"/>
                    </a:lnTo>
                    <a:lnTo>
                      <a:pt x="35701" y="125016"/>
                    </a:lnTo>
                    <a:lnTo>
                      <a:pt x="35701" y="19645"/>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7" name="Freeform 16">
                <a:extLst>
                  <a:ext uri="{FF2B5EF4-FFF2-40B4-BE49-F238E27FC236}">
                    <a16:creationId xmlns:a16="http://schemas.microsoft.com/office/drawing/2014/main" id="{5EA82734-52AE-E149-B3FF-F2CAAE61A358}"/>
                  </a:ext>
                </a:extLst>
              </p:cNvPr>
              <p:cNvSpPr/>
              <p:nvPr/>
            </p:nvSpPr>
            <p:spPr>
              <a:xfrm>
                <a:off x="6430769" y="1859605"/>
                <a:ext cx="23205" cy="125015"/>
              </a:xfrm>
              <a:custGeom>
                <a:avLst/>
                <a:gdLst>
                  <a:gd name="connsiteX0" fmla="*/ 23206 w 23205"/>
                  <a:gd name="connsiteY0" fmla="*/ 0 h 125015"/>
                  <a:gd name="connsiteX1" fmla="*/ 23206 w 23205"/>
                  <a:gd name="connsiteY1" fmla="*/ 125016 h 125015"/>
                  <a:gd name="connsiteX2" fmla="*/ 0 w 23205"/>
                  <a:gd name="connsiteY2" fmla="*/ 125016 h 125015"/>
                  <a:gd name="connsiteX3" fmla="*/ 0 w 23205"/>
                  <a:gd name="connsiteY3" fmla="*/ 0 h 125015"/>
                  <a:gd name="connsiteX4" fmla="*/ 23206 w 23205"/>
                  <a:gd name="connsiteY4" fmla="*/ 0 h 125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5" h="125015">
                    <a:moveTo>
                      <a:pt x="23206" y="0"/>
                    </a:moveTo>
                    <a:lnTo>
                      <a:pt x="23206" y="125016"/>
                    </a:lnTo>
                    <a:lnTo>
                      <a:pt x="0" y="125016"/>
                    </a:lnTo>
                    <a:lnTo>
                      <a:pt x="0" y="0"/>
                    </a:lnTo>
                    <a:lnTo>
                      <a:pt x="23206" y="0"/>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8" name="Freeform 17">
                <a:extLst>
                  <a:ext uri="{FF2B5EF4-FFF2-40B4-BE49-F238E27FC236}">
                    <a16:creationId xmlns:a16="http://schemas.microsoft.com/office/drawing/2014/main" id="{D6F28DE5-56FD-7049-8F91-71B8998CE054}"/>
                  </a:ext>
                </a:extLst>
              </p:cNvPr>
              <p:cNvSpPr/>
              <p:nvPr/>
            </p:nvSpPr>
            <p:spPr>
              <a:xfrm>
                <a:off x="6476288" y="1859605"/>
                <a:ext cx="99071" cy="125015"/>
              </a:xfrm>
              <a:custGeom>
                <a:avLst/>
                <a:gdLst>
                  <a:gd name="connsiteX0" fmla="*/ 0 w 99071"/>
                  <a:gd name="connsiteY0" fmla="*/ 125016 h 125015"/>
                  <a:gd name="connsiteX1" fmla="*/ 0 w 99071"/>
                  <a:gd name="connsiteY1" fmla="*/ 0 h 125015"/>
                  <a:gd name="connsiteX2" fmla="*/ 25884 w 99071"/>
                  <a:gd name="connsiteY2" fmla="*/ 0 h 125015"/>
                  <a:gd name="connsiteX3" fmla="*/ 58015 w 99071"/>
                  <a:gd name="connsiteY3" fmla="*/ 53578 h 125015"/>
                  <a:gd name="connsiteX4" fmla="*/ 79436 w 99071"/>
                  <a:gd name="connsiteY4" fmla="*/ 95548 h 125015"/>
                  <a:gd name="connsiteX5" fmla="*/ 79436 w 99071"/>
                  <a:gd name="connsiteY5" fmla="*/ 95548 h 125015"/>
                  <a:gd name="connsiteX6" fmla="*/ 77650 w 99071"/>
                  <a:gd name="connsiteY6" fmla="*/ 43755 h 125015"/>
                  <a:gd name="connsiteX7" fmla="*/ 77650 w 99071"/>
                  <a:gd name="connsiteY7" fmla="*/ 0 h 125015"/>
                  <a:gd name="connsiteX8" fmla="*/ 99071 w 99071"/>
                  <a:gd name="connsiteY8" fmla="*/ 0 h 125015"/>
                  <a:gd name="connsiteX9" fmla="*/ 99071 w 99071"/>
                  <a:gd name="connsiteY9" fmla="*/ 125016 h 125015"/>
                  <a:gd name="connsiteX10" fmla="*/ 75865 w 99071"/>
                  <a:gd name="connsiteY10" fmla="*/ 125016 h 125015"/>
                  <a:gd name="connsiteX11" fmla="*/ 42842 w 99071"/>
                  <a:gd name="connsiteY11" fmla="*/ 69652 h 125015"/>
                  <a:gd name="connsiteX12" fmla="*/ 20528 w 99071"/>
                  <a:gd name="connsiteY12" fmla="*/ 26789 h 125015"/>
                  <a:gd name="connsiteX13" fmla="*/ 19636 w 99071"/>
                  <a:gd name="connsiteY13" fmla="*/ 26789 h 125015"/>
                  <a:gd name="connsiteX14" fmla="*/ 20528 w 99071"/>
                  <a:gd name="connsiteY14" fmla="*/ 80367 h 125015"/>
                  <a:gd name="connsiteX15" fmla="*/ 20528 w 99071"/>
                  <a:gd name="connsiteY15" fmla="*/ 125016 h 125015"/>
                  <a:gd name="connsiteX16" fmla="*/ 0 w 99071"/>
                  <a:gd name="connsiteY16" fmla="*/ 125016 h 12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071" h="125015">
                    <a:moveTo>
                      <a:pt x="0" y="125016"/>
                    </a:moveTo>
                    <a:lnTo>
                      <a:pt x="0" y="0"/>
                    </a:lnTo>
                    <a:lnTo>
                      <a:pt x="25884" y="0"/>
                    </a:lnTo>
                    <a:lnTo>
                      <a:pt x="58015" y="53578"/>
                    </a:lnTo>
                    <a:cubicBezTo>
                      <a:pt x="66048" y="67866"/>
                      <a:pt x="73188" y="82153"/>
                      <a:pt x="79436" y="95548"/>
                    </a:cubicBezTo>
                    <a:lnTo>
                      <a:pt x="79436" y="95548"/>
                    </a:lnTo>
                    <a:cubicBezTo>
                      <a:pt x="77650" y="78581"/>
                      <a:pt x="77650" y="62508"/>
                      <a:pt x="77650" y="43755"/>
                    </a:cubicBezTo>
                    <a:lnTo>
                      <a:pt x="77650" y="0"/>
                    </a:lnTo>
                    <a:lnTo>
                      <a:pt x="99071" y="0"/>
                    </a:lnTo>
                    <a:lnTo>
                      <a:pt x="99071" y="125016"/>
                    </a:lnTo>
                    <a:lnTo>
                      <a:pt x="75865" y="125016"/>
                    </a:lnTo>
                    <a:lnTo>
                      <a:pt x="42842" y="69652"/>
                    </a:lnTo>
                    <a:cubicBezTo>
                      <a:pt x="34809" y="56257"/>
                      <a:pt x="26776" y="41077"/>
                      <a:pt x="20528" y="26789"/>
                    </a:cubicBezTo>
                    <a:lnTo>
                      <a:pt x="19636" y="26789"/>
                    </a:lnTo>
                    <a:cubicBezTo>
                      <a:pt x="20528" y="42863"/>
                      <a:pt x="20528" y="59829"/>
                      <a:pt x="20528" y="80367"/>
                    </a:cubicBezTo>
                    <a:lnTo>
                      <a:pt x="20528" y="125016"/>
                    </a:lnTo>
                    <a:lnTo>
                      <a:pt x="0" y="125016"/>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sp>
            <p:nvSpPr>
              <p:cNvPr id="19" name="Freeform 18">
                <a:extLst>
                  <a:ext uri="{FF2B5EF4-FFF2-40B4-BE49-F238E27FC236}">
                    <a16:creationId xmlns:a16="http://schemas.microsoft.com/office/drawing/2014/main" id="{7B3B88BC-79F7-F64C-98DC-0E86AAFC7FD8}"/>
                  </a:ext>
                </a:extLst>
              </p:cNvPr>
              <p:cNvSpPr/>
              <p:nvPr/>
            </p:nvSpPr>
            <p:spPr>
              <a:xfrm>
                <a:off x="6592318" y="1857819"/>
                <a:ext cx="107103" cy="128587"/>
              </a:xfrm>
              <a:custGeom>
                <a:avLst/>
                <a:gdLst>
                  <a:gd name="connsiteX0" fmla="*/ 107104 w 107103"/>
                  <a:gd name="connsiteY0" fmla="*/ 121444 h 128587"/>
                  <a:gd name="connsiteX1" fmla="*/ 66940 w 107103"/>
                  <a:gd name="connsiteY1" fmla="*/ 128587 h 128587"/>
                  <a:gd name="connsiteX2" fmla="*/ 17851 w 107103"/>
                  <a:gd name="connsiteY2" fmla="*/ 111621 h 128587"/>
                  <a:gd name="connsiteX3" fmla="*/ 0 w 107103"/>
                  <a:gd name="connsiteY3" fmla="*/ 65187 h 128587"/>
                  <a:gd name="connsiteX4" fmla="*/ 69618 w 107103"/>
                  <a:gd name="connsiteY4" fmla="*/ 0 h 128587"/>
                  <a:gd name="connsiteX5" fmla="*/ 102641 w 107103"/>
                  <a:gd name="connsiteY5" fmla="*/ 6251 h 128587"/>
                  <a:gd name="connsiteX6" fmla="*/ 97286 w 107103"/>
                  <a:gd name="connsiteY6" fmla="*/ 25003 h 128587"/>
                  <a:gd name="connsiteX7" fmla="*/ 68725 w 107103"/>
                  <a:gd name="connsiteY7" fmla="*/ 19645 h 128587"/>
                  <a:gd name="connsiteX8" fmla="*/ 23206 w 107103"/>
                  <a:gd name="connsiteY8" fmla="*/ 64294 h 128587"/>
                  <a:gd name="connsiteX9" fmla="*/ 66940 w 107103"/>
                  <a:gd name="connsiteY9" fmla="*/ 109835 h 128587"/>
                  <a:gd name="connsiteX10" fmla="*/ 83898 w 107103"/>
                  <a:gd name="connsiteY10" fmla="*/ 107156 h 128587"/>
                  <a:gd name="connsiteX11" fmla="*/ 83898 w 107103"/>
                  <a:gd name="connsiteY11" fmla="*/ 75902 h 128587"/>
                  <a:gd name="connsiteX12" fmla="*/ 61585 w 107103"/>
                  <a:gd name="connsiteY12" fmla="*/ 75902 h 128587"/>
                  <a:gd name="connsiteX13" fmla="*/ 61585 w 107103"/>
                  <a:gd name="connsiteY13" fmla="*/ 58043 h 128587"/>
                  <a:gd name="connsiteX14" fmla="*/ 106212 w 107103"/>
                  <a:gd name="connsiteY14" fmla="*/ 58043 h 128587"/>
                  <a:gd name="connsiteX15" fmla="*/ 106212 w 107103"/>
                  <a:gd name="connsiteY15" fmla="*/ 121444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103" h="128587">
                    <a:moveTo>
                      <a:pt x="107104" y="121444"/>
                    </a:moveTo>
                    <a:cubicBezTo>
                      <a:pt x="99071" y="124123"/>
                      <a:pt x="83898" y="128587"/>
                      <a:pt x="66940" y="128587"/>
                    </a:cubicBezTo>
                    <a:cubicBezTo>
                      <a:pt x="45519" y="128587"/>
                      <a:pt x="29454" y="123230"/>
                      <a:pt x="17851" y="111621"/>
                    </a:cubicBezTo>
                    <a:cubicBezTo>
                      <a:pt x="7140" y="100905"/>
                      <a:pt x="0" y="84832"/>
                      <a:pt x="0" y="65187"/>
                    </a:cubicBezTo>
                    <a:cubicBezTo>
                      <a:pt x="0" y="25896"/>
                      <a:pt x="28561" y="0"/>
                      <a:pt x="69618" y="0"/>
                    </a:cubicBezTo>
                    <a:cubicBezTo>
                      <a:pt x="84791" y="0"/>
                      <a:pt x="97286" y="3572"/>
                      <a:pt x="102641" y="6251"/>
                    </a:cubicBezTo>
                    <a:lnTo>
                      <a:pt x="97286" y="25003"/>
                    </a:lnTo>
                    <a:cubicBezTo>
                      <a:pt x="90146" y="22324"/>
                      <a:pt x="82113" y="19645"/>
                      <a:pt x="68725" y="19645"/>
                    </a:cubicBezTo>
                    <a:cubicBezTo>
                      <a:pt x="41949" y="19645"/>
                      <a:pt x="23206" y="35719"/>
                      <a:pt x="23206" y="64294"/>
                    </a:cubicBezTo>
                    <a:cubicBezTo>
                      <a:pt x="23206" y="92869"/>
                      <a:pt x="41057" y="109835"/>
                      <a:pt x="66940" y="109835"/>
                    </a:cubicBezTo>
                    <a:cubicBezTo>
                      <a:pt x="74973" y="109835"/>
                      <a:pt x="81221" y="108942"/>
                      <a:pt x="83898" y="107156"/>
                    </a:cubicBezTo>
                    <a:lnTo>
                      <a:pt x="83898" y="75902"/>
                    </a:lnTo>
                    <a:lnTo>
                      <a:pt x="61585" y="75902"/>
                    </a:lnTo>
                    <a:lnTo>
                      <a:pt x="61585" y="58043"/>
                    </a:lnTo>
                    <a:lnTo>
                      <a:pt x="106212" y="58043"/>
                    </a:lnTo>
                    <a:lnTo>
                      <a:pt x="106212" y="121444"/>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grpSp>
        <p:sp>
          <p:nvSpPr>
            <p:cNvPr id="9" name="Freeform 8">
              <a:extLst>
                <a:ext uri="{FF2B5EF4-FFF2-40B4-BE49-F238E27FC236}">
                  <a16:creationId xmlns:a16="http://schemas.microsoft.com/office/drawing/2014/main" id="{DE40CAB4-3707-B549-B9E7-DA7CA049B5CA}"/>
                </a:ext>
              </a:extLst>
            </p:cNvPr>
            <p:cNvSpPr/>
            <p:nvPr/>
          </p:nvSpPr>
          <p:spPr>
            <a:xfrm>
              <a:off x="5613209" y="1796204"/>
              <a:ext cx="7140" cy="196453"/>
            </a:xfrm>
            <a:custGeom>
              <a:avLst/>
              <a:gdLst>
                <a:gd name="connsiteX0" fmla="*/ 0 w 7140"/>
                <a:gd name="connsiteY0" fmla="*/ 0 h 196453"/>
                <a:gd name="connsiteX1" fmla="*/ 7140 w 7140"/>
                <a:gd name="connsiteY1" fmla="*/ 0 h 196453"/>
                <a:gd name="connsiteX2" fmla="*/ 7140 w 7140"/>
                <a:gd name="connsiteY2" fmla="*/ 196453 h 196453"/>
                <a:gd name="connsiteX3" fmla="*/ 0 w 7140"/>
                <a:gd name="connsiteY3" fmla="*/ 196453 h 196453"/>
              </a:gdLst>
              <a:ahLst/>
              <a:cxnLst>
                <a:cxn ang="0">
                  <a:pos x="connsiteX0" y="connsiteY0"/>
                </a:cxn>
                <a:cxn ang="0">
                  <a:pos x="connsiteX1" y="connsiteY1"/>
                </a:cxn>
                <a:cxn ang="0">
                  <a:pos x="connsiteX2" y="connsiteY2"/>
                </a:cxn>
                <a:cxn ang="0">
                  <a:pos x="connsiteX3" y="connsiteY3"/>
                </a:cxn>
              </a:cxnLst>
              <a:rect l="l" t="t" r="r" b="b"/>
              <a:pathLst>
                <a:path w="7140" h="196453">
                  <a:moveTo>
                    <a:pt x="0" y="0"/>
                  </a:moveTo>
                  <a:lnTo>
                    <a:pt x="7140" y="0"/>
                  </a:lnTo>
                  <a:lnTo>
                    <a:pt x="7140" y="196453"/>
                  </a:lnTo>
                  <a:lnTo>
                    <a:pt x="0" y="196453"/>
                  </a:lnTo>
                  <a:close/>
                </a:path>
              </a:pathLst>
            </a:custGeom>
            <a:grpFill/>
            <a:ln w="8925" cap="flat">
              <a:noFill/>
              <a:prstDash val="solid"/>
              <a:miter/>
            </a:ln>
          </p:spPr>
          <p:txBody>
            <a:bodyPr rtlCol="0" anchor="ctr"/>
            <a:lstStyle/>
            <a:p>
              <a:endParaRPr lang="en-GB" sz="1800">
                <a:solidFill>
                  <a:srgbClr val="F15A28"/>
                </a:solidFill>
                <a:latin typeface="Arial" panose="020B0604020202020204" pitchFamily="34" charset="0"/>
                <a:cs typeface="Arial" panose="020B0604020202020204" pitchFamily="34" charset="0"/>
              </a:endParaRPr>
            </a:p>
          </p:txBody>
        </p:sp>
      </p:grpSp>
      <p:sp>
        <p:nvSpPr>
          <p:cNvPr id="20" name="Rectangle 19">
            <a:extLst>
              <a:ext uri="{FF2B5EF4-FFF2-40B4-BE49-F238E27FC236}">
                <a16:creationId xmlns:a16="http://schemas.microsoft.com/office/drawing/2014/main" id="{94B56DA0-EB9C-D44E-987A-6A9366F9922F}"/>
              </a:ext>
            </a:extLst>
          </p:cNvPr>
          <p:cNvSpPr/>
          <p:nvPr userDrawn="1">
            <p:custDataLst>
              <p:tags r:id="rId15"/>
            </p:custDataLst>
          </p:nvPr>
        </p:nvSpPr>
        <p:spPr bwMode="gray">
          <a:xfrm>
            <a:off x="753755" y="6481332"/>
            <a:ext cx="3996000" cy="144000"/>
          </a:xfrm>
          <a:prstGeom prst="rect">
            <a:avLst/>
          </a:prstGeom>
        </p:spPr>
        <p:txBody>
          <a:bodyPr vert="horz" lIns="0" tIns="18000" rIns="0" bIns="18000" rtlCol="0" anchor="b" anchorCtr="0">
            <a:noAutofit/>
          </a:bodyPr>
          <a:lstStyle/>
          <a:p>
            <a:pPr lvl="0" algn="l"/>
            <a:r>
              <a:rPr lang="en-GB" sz="667" b="0" dirty="0">
                <a:solidFill>
                  <a:schemeClr val="bg1"/>
                </a:solidFill>
                <a:latin typeface="Arial" panose="020B0604020202020204" pitchFamily="34" charset="0"/>
                <a:ea typeface="Arial" charset="0"/>
                <a:cs typeface="Arial" panose="020B0604020202020204" pitchFamily="34" charset="0"/>
              </a:rPr>
              <a:t>© Infosys Consulting 2022</a:t>
            </a:r>
            <a:endParaRPr lang="en-US" sz="667" b="0" dirty="0">
              <a:solidFill>
                <a:schemeClr val="bg1"/>
              </a:solidFill>
              <a:latin typeface="Arial" panose="020B0604020202020204" pitchFamily="34" charset="0"/>
              <a:ea typeface="Arial" charset="0"/>
              <a:cs typeface="Arial" panose="020B0604020202020204" pitchFamily="34" charset="0"/>
            </a:endParaRPr>
          </a:p>
        </p:txBody>
      </p:sp>
      <p:sp>
        <p:nvSpPr>
          <p:cNvPr id="21" name="Rectangle 20">
            <a:extLst>
              <a:ext uri="{FF2B5EF4-FFF2-40B4-BE49-F238E27FC236}">
                <a16:creationId xmlns:a16="http://schemas.microsoft.com/office/drawing/2014/main" id="{19FDAA22-4EEC-2149-AC6C-E7D3B8319A34}"/>
              </a:ext>
            </a:extLst>
          </p:cNvPr>
          <p:cNvSpPr/>
          <p:nvPr userDrawn="1"/>
        </p:nvSpPr>
        <p:spPr bwMode="gray">
          <a:xfrm>
            <a:off x="488503" y="6483071"/>
            <a:ext cx="224232" cy="144000"/>
          </a:xfrm>
          <a:prstGeom prst="rect">
            <a:avLst/>
          </a:prstGeom>
        </p:spPr>
        <p:txBody>
          <a:bodyPr vert="horz" lIns="0" tIns="18000" rIns="0" bIns="18000" rtlCol="0" anchor="b" anchorCtr="0">
            <a:noAutofit/>
          </a:bodyPr>
          <a:lstStyle/>
          <a:p>
            <a:pPr lvl="0" algn="l"/>
            <a:fld id="{7A58C72A-FAEE-4A7B-812F-151929DEA70F}" type="slidenum">
              <a:rPr lang="en-US" sz="667" b="0" smtClean="0">
                <a:solidFill>
                  <a:schemeClr val="bg1"/>
                </a:solidFill>
                <a:latin typeface="Arial" panose="020B0604020202020204" pitchFamily="34" charset="0"/>
                <a:ea typeface="Arial" charset="0"/>
                <a:cs typeface="Arial" panose="020B0604020202020204" pitchFamily="34" charset="0"/>
              </a:rPr>
              <a:pPr lvl="0" algn="l"/>
              <a:t>‹#›</a:t>
            </a:fld>
            <a:endParaRPr lang="en-US" sz="667" b="0" dirty="0">
              <a:solidFill>
                <a:schemeClr val="bg1"/>
              </a:solidFill>
              <a:latin typeface="Arial" panose="020B0604020202020204" pitchFamily="34" charset="0"/>
              <a:ea typeface="Arial" charset="0"/>
              <a:cs typeface="Arial" panose="020B0604020202020204" pitchFamily="34" charset="0"/>
            </a:endParaRPr>
          </a:p>
        </p:txBody>
      </p:sp>
    </p:spTree>
    <p:extLst>
      <p:ext uri="{BB962C8B-B14F-4D97-AF65-F5344CB8AC3E}">
        <p14:creationId xmlns:p14="http://schemas.microsoft.com/office/powerpoint/2010/main" val="6477602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262" rtl="0" eaLnBrk="1" latinLnBrk="0" hangingPunct="1">
        <a:lnSpc>
          <a:spcPct val="90000"/>
        </a:lnSpc>
        <a:spcBef>
          <a:spcPct val="0"/>
        </a:spcBef>
        <a:buNone/>
        <a:defRPr sz="3733" kern="1200">
          <a:solidFill>
            <a:schemeClr val="accent3"/>
          </a:solidFill>
          <a:latin typeface="Arial" charset="0"/>
          <a:ea typeface="Arial" charset="0"/>
          <a:cs typeface="Arial" charset="0"/>
        </a:defRPr>
      </a:lvl1pPr>
    </p:titleStyle>
    <p:bodyStyle>
      <a:lvl1pPr marL="457133" indent="-457133" algn="l" defTabSz="914262" rtl="0" eaLnBrk="1" latinLnBrk="0" hangingPunct="1">
        <a:lnSpc>
          <a:spcPct val="90000"/>
        </a:lnSpc>
        <a:spcBef>
          <a:spcPts val="1000"/>
        </a:spcBef>
        <a:buClr>
          <a:schemeClr val="bg1"/>
        </a:buClr>
        <a:buFont typeface="Symbol" charset="2"/>
        <a:buChar char="-"/>
        <a:defRPr sz="2800" kern="1200">
          <a:solidFill>
            <a:schemeClr val="bg1"/>
          </a:solidFill>
          <a:latin typeface="Arial" charset="0"/>
          <a:ea typeface="Arial" charset="0"/>
          <a:cs typeface="Arial" charset="0"/>
        </a:defRPr>
      </a:lvl1pPr>
      <a:lvl2pPr marL="838075" indent="-380942" algn="l" defTabSz="914262" rtl="0" eaLnBrk="1" latinLnBrk="0" hangingPunct="1">
        <a:lnSpc>
          <a:spcPct val="90000"/>
        </a:lnSpc>
        <a:spcBef>
          <a:spcPts val="500"/>
        </a:spcBef>
        <a:buClr>
          <a:schemeClr val="bg1"/>
        </a:buClr>
        <a:buFont typeface="Symbol" charset="2"/>
        <a:buChar char="-"/>
        <a:defRPr sz="2400" kern="1200">
          <a:solidFill>
            <a:schemeClr val="bg1"/>
          </a:solidFill>
          <a:latin typeface="Arial" charset="0"/>
          <a:ea typeface="Arial" charset="0"/>
          <a:cs typeface="Arial" charset="0"/>
        </a:defRPr>
      </a:lvl2pPr>
      <a:lvl3pPr marL="1295205" indent="-380942" algn="l" defTabSz="914262" rtl="0" eaLnBrk="1" latinLnBrk="0" hangingPunct="1">
        <a:lnSpc>
          <a:spcPct val="90000"/>
        </a:lnSpc>
        <a:spcBef>
          <a:spcPts val="500"/>
        </a:spcBef>
        <a:buClr>
          <a:schemeClr val="bg1"/>
        </a:buClr>
        <a:buFont typeface="Symbol" charset="2"/>
        <a:buChar char="-"/>
        <a:defRPr sz="2000" kern="1200">
          <a:solidFill>
            <a:schemeClr val="bg1"/>
          </a:solidFill>
          <a:latin typeface="Arial" charset="0"/>
          <a:ea typeface="Arial" charset="0"/>
          <a:cs typeface="Arial" charset="0"/>
        </a:defRPr>
      </a:lvl3pPr>
      <a:lvl4pPr marL="1752338" indent="-380942" algn="l" defTabSz="914262" rtl="0" eaLnBrk="1" latinLnBrk="0" hangingPunct="1">
        <a:lnSpc>
          <a:spcPct val="90000"/>
        </a:lnSpc>
        <a:spcBef>
          <a:spcPts val="500"/>
        </a:spcBef>
        <a:buClr>
          <a:schemeClr val="bg1"/>
        </a:buClr>
        <a:buFont typeface="Symbol" charset="2"/>
        <a:buChar char="-"/>
        <a:defRPr sz="1800" kern="1200">
          <a:solidFill>
            <a:schemeClr val="bg1"/>
          </a:solidFill>
          <a:latin typeface="Arial" charset="0"/>
          <a:ea typeface="Arial" charset="0"/>
          <a:cs typeface="Arial" charset="0"/>
        </a:defRPr>
      </a:lvl4pPr>
      <a:lvl5pPr marL="2209469" indent="-380942" algn="l" defTabSz="914262" rtl="0" eaLnBrk="1" latinLnBrk="0" hangingPunct="1">
        <a:lnSpc>
          <a:spcPct val="90000"/>
        </a:lnSpc>
        <a:spcBef>
          <a:spcPts val="500"/>
        </a:spcBef>
        <a:buClr>
          <a:schemeClr val="bg1"/>
        </a:buClr>
        <a:buFont typeface="Symbol" charset="2"/>
        <a:buChar char="-"/>
        <a:defRPr sz="1800" kern="1200">
          <a:solidFill>
            <a:schemeClr val="bg1"/>
          </a:solidFill>
          <a:latin typeface="Arial" charset="0"/>
          <a:ea typeface="Arial" charset="0"/>
          <a:cs typeface="Arial" charset="0"/>
        </a:defRPr>
      </a:lvl5pPr>
      <a:lvl6pPr marL="2514222" indent="-228565" algn="l" defTabSz="9142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355" indent="-228565" algn="l" defTabSz="9142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485" indent="-228565" algn="l" defTabSz="9142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618" indent="-228565" algn="l" defTabSz="9142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62" rtl="0" eaLnBrk="1" latinLnBrk="0" hangingPunct="1">
        <a:defRPr sz="1800" kern="1200">
          <a:solidFill>
            <a:schemeClr val="tx1"/>
          </a:solidFill>
          <a:latin typeface="+mn-lt"/>
          <a:ea typeface="+mn-ea"/>
          <a:cs typeface="+mn-cs"/>
        </a:defRPr>
      </a:lvl1pPr>
      <a:lvl2pPr marL="457133" algn="l" defTabSz="914262" rtl="0" eaLnBrk="1" latinLnBrk="0" hangingPunct="1">
        <a:defRPr sz="1800" kern="1200">
          <a:solidFill>
            <a:schemeClr val="tx1"/>
          </a:solidFill>
          <a:latin typeface="+mn-lt"/>
          <a:ea typeface="+mn-ea"/>
          <a:cs typeface="+mn-cs"/>
        </a:defRPr>
      </a:lvl2pPr>
      <a:lvl3pPr marL="914262" algn="l" defTabSz="914262" rtl="0" eaLnBrk="1" latinLnBrk="0" hangingPunct="1">
        <a:defRPr sz="1800" kern="1200">
          <a:solidFill>
            <a:schemeClr val="tx1"/>
          </a:solidFill>
          <a:latin typeface="+mn-lt"/>
          <a:ea typeface="+mn-ea"/>
          <a:cs typeface="+mn-cs"/>
        </a:defRPr>
      </a:lvl3pPr>
      <a:lvl4pPr marL="1371395" algn="l" defTabSz="914262" rtl="0" eaLnBrk="1" latinLnBrk="0" hangingPunct="1">
        <a:defRPr sz="1800" kern="1200">
          <a:solidFill>
            <a:schemeClr val="tx1"/>
          </a:solidFill>
          <a:latin typeface="+mn-lt"/>
          <a:ea typeface="+mn-ea"/>
          <a:cs typeface="+mn-cs"/>
        </a:defRPr>
      </a:lvl4pPr>
      <a:lvl5pPr marL="1828525" algn="l" defTabSz="914262" rtl="0" eaLnBrk="1" latinLnBrk="0" hangingPunct="1">
        <a:defRPr sz="1800" kern="1200">
          <a:solidFill>
            <a:schemeClr val="tx1"/>
          </a:solidFill>
          <a:latin typeface="+mn-lt"/>
          <a:ea typeface="+mn-ea"/>
          <a:cs typeface="+mn-cs"/>
        </a:defRPr>
      </a:lvl5pPr>
      <a:lvl6pPr marL="2285658" algn="l" defTabSz="914262" rtl="0" eaLnBrk="1" latinLnBrk="0" hangingPunct="1">
        <a:defRPr sz="1800" kern="1200">
          <a:solidFill>
            <a:schemeClr val="tx1"/>
          </a:solidFill>
          <a:latin typeface="+mn-lt"/>
          <a:ea typeface="+mn-ea"/>
          <a:cs typeface="+mn-cs"/>
        </a:defRPr>
      </a:lvl6pPr>
      <a:lvl7pPr marL="2742787" algn="l" defTabSz="914262" rtl="0" eaLnBrk="1" latinLnBrk="0" hangingPunct="1">
        <a:defRPr sz="1800" kern="1200">
          <a:solidFill>
            <a:schemeClr val="tx1"/>
          </a:solidFill>
          <a:latin typeface="+mn-lt"/>
          <a:ea typeface="+mn-ea"/>
          <a:cs typeface="+mn-cs"/>
        </a:defRPr>
      </a:lvl7pPr>
      <a:lvl8pPr marL="3199920" algn="l" defTabSz="914262" rtl="0" eaLnBrk="1" latinLnBrk="0" hangingPunct="1">
        <a:defRPr sz="1800" kern="1200">
          <a:solidFill>
            <a:schemeClr val="tx1"/>
          </a:solidFill>
          <a:latin typeface="+mn-lt"/>
          <a:ea typeface="+mn-ea"/>
          <a:cs typeface="+mn-cs"/>
        </a:defRPr>
      </a:lvl8pPr>
      <a:lvl9pPr marL="3657053" algn="l" defTabSz="9142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pos="158">
          <p15:clr>
            <a:srgbClr val="F26B43"/>
          </p15:clr>
        </p15:guide>
        <p15:guide id="3" pos="560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mailto:denes.csala@infosys.com" TargetMode="External"/><Relationship Id="rId7" Type="http://schemas.openxmlformats.org/officeDocument/2006/relationships/hyperlink" Target="https://data.csaladen.es/portfolio.pdf" TargetMode="Externa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hyperlink" Target="https://data.csaladen.es/" TargetMode="External"/><Relationship Id="rId11" Type="http://schemas.openxmlformats.org/officeDocument/2006/relationships/image" Target="../media/image8.svg"/><Relationship Id="rId5" Type="http://schemas.openxmlformats.org/officeDocument/2006/relationships/image" Target="../media/image4.png"/><Relationship Id="rId10" Type="http://schemas.openxmlformats.org/officeDocument/2006/relationships/image" Target="../media/image7.png"/><Relationship Id="rId4" Type="http://schemas.openxmlformats.org/officeDocument/2006/relationships/hyperlink" Target="https://www.inkedin.com/in/csaladenes" TargetMode="External"/><Relationship Id="rId9" Type="http://schemas.openxmlformats.org/officeDocument/2006/relationships/image" Target="../media/image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2211C2-785B-FC4A-B2E9-145D99769F67}"/>
              </a:ext>
            </a:extLst>
          </p:cNvPr>
          <p:cNvSpPr/>
          <p:nvPr/>
        </p:nvSpPr>
        <p:spPr>
          <a:xfrm>
            <a:off x="-1" y="1925186"/>
            <a:ext cx="3448433" cy="4932814"/>
          </a:xfrm>
          <a:prstGeom prst="rect">
            <a:avLst/>
          </a:prstGeom>
          <a:solidFill>
            <a:schemeClr val="bg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57823A7E-45ED-43A8-884D-5A6C55FDBEFF}"/>
              </a:ext>
            </a:extLst>
          </p:cNvPr>
          <p:cNvSpPr txBox="1"/>
          <p:nvPr/>
        </p:nvSpPr>
        <p:spPr>
          <a:xfrm>
            <a:off x="3821998" y="2494546"/>
            <a:ext cx="5487077" cy="3970931"/>
          </a:xfrm>
          <a:prstGeom prst="rect">
            <a:avLst/>
          </a:prstGeom>
          <a:noFill/>
        </p:spPr>
        <p:txBody>
          <a:bodyPr wrap="square" lIns="0" tIns="0" rIns="0" bIns="0" rtlCol="0">
            <a:noAutofit/>
          </a:bodyPr>
          <a:lstStyle/>
          <a:p>
            <a:pPr marL="147770" indent="-147770" defTabSz="788102">
              <a:lnSpc>
                <a:spcPct val="120000"/>
              </a:lnSpc>
              <a:spcBef>
                <a:spcPts val="600"/>
              </a:spcBef>
              <a:buFont typeface="Arial" panose="020B0604020202020204" pitchFamily="34" charset="0"/>
              <a:buChar char="•"/>
              <a:defRPr/>
            </a:pPr>
            <a:r>
              <a:rPr lang="en-US" sz="900" b="1" dirty="0" err="1">
                <a:solidFill>
                  <a:srgbClr val="F25A2A"/>
                </a:solidFill>
                <a:latin typeface="Arial" panose="020B0604020202020204" pitchFamily="34" charset="0"/>
                <a:cs typeface="Arial" panose="020B0604020202020204" pitchFamily="34" charset="0"/>
              </a:rPr>
              <a:t>Organisational</a:t>
            </a:r>
            <a:r>
              <a:rPr lang="en-US" sz="900" b="1" dirty="0">
                <a:solidFill>
                  <a:srgbClr val="F25A2A"/>
                </a:solidFill>
                <a:latin typeface="Arial" panose="020B0604020202020204" pitchFamily="34" charset="0"/>
                <a:cs typeface="Arial" panose="020B0604020202020204" pitchFamily="34" charset="0"/>
              </a:rPr>
              <a:t> Network Analysis in Finance</a:t>
            </a:r>
            <a:r>
              <a:rPr lang="en-US" sz="900" dirty="0">
                <a:solidFill>
                  <a:schemeClr val="bg1"/>
                </a:solidFill>
                <a:latin typeface="Arial" panose="020B0604020202020204" pitchFamily="34" charset="0"/>
                <a:cs typeface="Arial" panose="020B0604020202020204" pitchFamily="34" charset="0"/>
              </a:rPr>
              <a:t> |</a:t>
            </a:r>
            <a:r>
              <a:rPr lang="en-US" sz="900" b="1" dirty="0">
                <a:solidFill>
                  <a:srgbClr val="F25A2A"/>
                </a:solidFill>
                <a:latin typeface="Arial" panose="020B0604020202020204" pitchFamily="34" charset="0"/>
                <a:cs typeface="Arial" panose="020B0604020202020204" pitchFamily="34" charset="0"/>
              </a:rPr>
              <a:t> </a:t>
            </a:r>
            <a:r>
              <a:rPr lang="en-US" sz="900" dirty="0" err="1">
                <a:solidFill>
                  <a:schemeClr val="bg1"/>
                </a:solidFill>
                <a:latin typeface="Arial" panose="020B0604020202020204" pitchFamily="34" charset="0"/>
                <a:cs typeface="Arial" panose="020B0604020202020204" pitchFamily="34" charset="0"/>
              </a:rPr>
              <a:t>Analysed</a:t>
            </a:r>
            <a:r>
              <a:rPr lang="en-US" sz="900" dirty="0">
                <a:solidFill>
                  <a:schemeClr val="bg1"/>
                </a:solidFill>
                <a:latin typeface="Arial" panose="020B0604020202020204" pitchFamily="34" charset="0"/>
                <a:cs typeface="Arial" panose="020B0604020202020204" pitchFamily="34" charset="0"/>
              </a:rPr>
              <a:t> the internal communications records of a medium-sized financial enterprise and engaged with stakeholders of the highest decision-making level to identify influencers and change agents across the community. This has resulted in the company introducing a data-driven performance-metric and overhauled their departmental structure based on the collaboration clusters identified through network science methods.</a:t>
            </a:r>
            <a:endParaRPr lang="en-US" sz="900" b="1" dirty="0">
              <a:solidFill>
                <a:srgbClr val="F25A2A"/>
              </a:solidFill>
              <a:latin typeface="Arial" panose="020B0604020202020204" pitchFamily="34" charset="0"/>
              <a:cs typeface="Arial" panose="020B0604020202020204" pitchFamily="34" charset="0"/>
            </a:endParaRPr>
          </a:p>
          <a:p>
            <a:pPr marL="147770" indent="-147770" defTabSz="788102">
              <a:lnSpc>
                <a:spcPct val="120000"/>
              </a:lnSpc>
              <a:spcBef>
                <a:spcPts val="600"/>
              </a:spcBef>
              <a:buFont typeface="Arial" panose="020B0604020202020204" pitchFamily="34" charset="0"/>
              <a:buChar char="•"/>
              <a:defRPr/>
            </a:pPr>
            <a:r>
              <a:rPr lang="en-US" sz="900" b="1" dirty="0">
                <a:solidFill>
                  <a:srgbClr val="F25A2A"/>
                </a:solidFill>
                <a:latin typeface="Arial" panose="020B0604020202020204" pitchFamily="34" charset="0"/>
                <a:cs typeface="Arial" panose="020B0604020202020204" pitchFamily="34" charset="0"/>
              </a:rPr>
              <a:t>Data Storytelling in Education</a:t>
            </a:r>
            <a:r>
              <a:rPr lang="en-US" sz="900" dirty="0">
                <a:solidFill>
                  <a:schemeClr val="bg1"/>
                </a:solidFill>
                <a:latin typeface="Arial" panose="020B0604020202020204" pitchFamily="34" charset="0"/>
                <a:cs typeface="Arial" panose="020B0604020202020204" pitchFamily="34" charset="0"/>
              </a:rPr>
              <a:t> |</a:t>
            </a:r>
            <a:r>
              <a:rPr lang="en-US" sz="900" b="1" dirty="0">
                <a:solidFill>
                  <a:srgbClr val="F25A2A"/>
                </a:solidFill>
                <a:latin typeface="Arial" panose="020B0604020202020204" pitchFamily="34" charset="0"/>
                <a:cs typeface="Arial" panose="020B0604020202020204" pitchFamily="34" charset="0"/>
              </a:rPr>
              <a:t> </a:t>
            </a:r>
            <a:r>
              <a:rPr lang="en-US" sz="900" dirty="0">
                <a:solidFill>
                  <a:schemeClr val="bg1"/>
                </a:solidFill>
                <a:latin typeface="Arial" panose="020B0604020202020204" pitchFamily="34" charset="0"/>
                <a:cs typeface="Arial" panose="020B0604020202020204" pitchFamily="34" charset="0"/>
              </a:rPr>
              <a:t>Collated extensive data about all educational institutions within a country and identified the most critical geographic and functional areas to guide governmental investment decisions. Engaged with high-level decision-makers and officials across the relevant government bodies and constructed a data story to help with further approval. As a result, the process of understanding a large and complex dataset was reduced from days to minutes.</a:t>
            </a:r>
            <a:endParaRPr lang="en-US" sz="900" b="1" dirty="0">
              <a:solidFill>
                <a:srgbClr val="F25A2A"/>
              </a:solidFill>
              <a:latin typeface="Arial" panose="020B0604020202020204" pitchFamily="34" charset="0"/>
              <a:cs typeface="Arial" panose="020B0604020202020204" pitchFamily="34" charset="0"/>
            </a:endParaRPr>
          </a:p>
          <a:p>
            <a:pPr marL="147770" indent="-147770" defTabSz="788102">
              <a:lnSpc>
                <a:spcPct val="120000"/>
              </a:lnSpc>
              <a:spcBef>
                <a:spcPts val="600"/>
              </a:spcBef>
              <a:buFont typeface="Arial" panose="020B0604020202020204" pitchFamily="34" charset="0"/>
              <a:buChar char="•"/>
              <a:defRPr/>
            </a:pPr>
            <a:r>
              <a:rPr lang="en-US" sz="900" b="1" dirty="0">
                <a:solidFill>
                  <a:srgbClr val="F25A2A"/>
                </a:solidFill>
                <a:latin typeface="Arial" panose="020B0604020202020204" pitchFamily="34" charset="0"/>
                <a:cs typeface="Arial" panose="020B0604020202020204" pitchFamily="34" charset="0"/>
              </a:rPr>
              <a:t>Energy Transitions</a:t>
            </a:r>
            <a:r>
              <a:rPr lang="en-US" sz="900" dirty="0">
                <a:solidFill>
                  <a:schemeClr val="bg1"/>
                </a:solidFill>
                <a:latin typeface="Arial" panose="020B0604020202020204" pitchFamily="34" charset="0"/>
                <a:cs typeface="Arial" panose="020B0604020202020204" pitchFamily="34" charset="0"/>
              </a:rPr>
              <a:t> |</a:t>
            </a:r>
            <a:r>
              <a:rPr lang="en-US" sz="900" b="1" dirty="0">
                <a:solidFill>
                  <a:srgbClr val="F25A2A"/>
                </a:solidFill>
                <a:latin typeface="Arial" panose="020B0604020202020204" pitchFamily="34" charset="0"/>
                <a:cs typeface="Arial" panose="020B0604020202020204" pitchFamily="34" charset="0"/>
              </a:rPr>
              <a:t> </a:t>
            </a:r>
            <a:r>
              <a:rPr lang="en-US" sz="900" dirty="0" err="1">
                <a:solidFill>
                  <a:schemeClr val="bg1"/>
                </a:solidFill>
                <a:latin typeface="Arial" panose="020B0604020202020204" pitchFamily="34" charset="0"/>
                <a:cs typeface="Arial" panose="020B0604020202020204" pitchFamily="34" charset="0"/>
              </a:rPr>
              <a:t>Analysed</a:t>
            </a:r>
            <a:r>
              <a:rPr lang="en-US" sz="900" dirty="0">
                <a:solidFill>
                  <a:schemeClr val="bg1"/>
                </a:solidFill>
                <a:latin typeface="Arial" panose="020B0604020202020204" pitchFamily="34" charset="0"/>
                <a:cs typeface="Arial" panose="020B0604020202020204" pitchFamily="34" charset="0"/>
              </a:rPr>
              <a:t> historical trade matrices for all countries and created climate-compliant viable energy transitions pathways. The findings have been referenced in international policy documents and have likely been integrated into national sustainable energy transition scenarios of certain countries. The resulting simulation model was the most downloaded in the Energy category on one of the largest online model repositories for several years.</a:t>
            </a:r>
            <a:endParaRPr lang="en-US" sz="900" b="1" dirty="0">
              <a:solidFill>
                <a:srgbClr val="F25A2A"/>
              </a:solidFill>
              <a:latin typeface="Arial" panose="020B0604020202020204" pitchFamily="34" charset="0"/>
              <a:cs typeface="Arial" panose="020B0604020202020204" pitchFamily="34" charset="0"/>
            </a:endParaRPr>
          </a:p>
          <a:p>
            <a:pPr marL="147770" indent="-147770" defTabSz="788102">
              <a:lnSpc>
                <a:spcPct val="120000"/>
              </a:lnSpc>
              <a:spcBef>
                <a:spcPts val="600"/>
              </a:spcBef>
              <a:buFont typeface="Arial" panose="020B0604020202020204" pitchFamily="34" charset="0"/>
              <a:buChar char="•"/>
              <a:defRPr/>
            </a:pPr>
            <a:r>
              <a:rPr lang="en-US" sz="900" b="1" dirty="0">
                <a:solidFill>
                  <a:srgbClr val="F25A2A"/>
                </a:solidFill>
                <a:latin typeface="Arial" panose="020B0604020202020204" pitchFamily="34" charset="0"/>
                <a:cs typeface="Arial" panose="020B0604020202020204" pitchFamily="34" charset="0"/>
              </a:rPr>
              <a:t>Data </a:t>
            </a:r>
            <a:r>
              <a:rPr lang="en-US" sz="900" b="1" dirty="0" err="1">
                <a:solidFill>
                  <a:srgbClr val="F25A2A"/>
                </a:solidFill>
                <a:latin typeface="Arial" panose="020B0604020202020204" pitchFamily="34" charset="0"/>
                <a:cs typeface="Arial" panose="020B0604020202020204" pitchFamily="34" charset="0"/>
              </a:rPr>
              <a:t>Visualisation</a:t>
            </a:r>
            <a:r>
              <a:rPr lang="en-US" sz="900" b="1" dirty="0">
                <a:solidFill>
                  <a:srgbClr val="F25A2A"/>
                </a:solidFill>
                <a:latin typeface="Arial" panose="020B0604020202020204" pitchFamily="34" charset="0"/>
                <a:cs typeface="Arial" panose="020B0604020202020204" pitchFamily="34" charset="0"/>
              </a:rPr>
              <a:t> for Science Communication in Times of Crisis</a:t>
            </a:r>
            <a:r>
              <a:rPr lang="en-US" sz="900" dirty="0">
                <a:solidFill>
                  <a:schemeClr val="bg1"/>
                </a:solidFill>
                <a:latin typeface="Arial" panose="020B0604020202020204" pitchFamily="34" charset="0"/>
                <a:cs typeface="Arial" panose="020B0604020202020204" pitchFamily="34" charset="0"/>
              </a:rPr>
              <a:t> |</a:t>
            </a:r>
            <a:r>
              <a:rPr lang="en-US" sz="900" b="1" dirty="0">
                <a:solidFill>
                  <a:srgbClr val="F25A2A"/>
                </a:solidFill>
                <a:latin typeface="Arial" panose="020B0604020202020204" pitchFamily="34" charset="0"/>
                <a:cs typeface="Arial" panose="020B0604020202020204" pitchFamily="34" charset="0"/>
              </a:rPr>
              <a:t> </a:t>
            </a:r>
            <a:r>
              <a:rPr lang="en-US" sz="900" dirty="0">
                <a:solidFill>
                  <a:schemeClr val="bg1"/>
                </a:solidFill>
                <a:latin typeface="Arial" panose="020B0604020202020204" pitchFamily="34" charset="0"/>
                <a:cs typeface="Arial" panose="020B0604020202020204" pitchFamily="34" charset="0"/>
              </a:rPr>
              <a:t>Created and maintained the largest COVID-19 information site for Romania in order to fight the prevalence of fake news. As part of a team, regularly published analyses and predictions about the potential course of the pandemic. Some of these have been directly incorporated into governance decisions, such as deciding on online or in-person education. The infographics published daily on the site are frequently cited by the largest publications and regularly appear on national television.</a:t>
            </a:r>
          </a:p>
          <a:p>
            <a:pPr marL="147770" indent="-147770" defTabSz="788102">
              <a:lnSpc>
                <a:spcPct val="120000"/>
              </a:lnSpc>
              <a:spcBef>
                <a:spcPts val="600"/>
              </a:spcBef>
              <a:buFont typeface="Arial" panose="020B0604020202020204" pitchFamily="34" charset="0"/>
              <a:buChar char="•"/>
              <a:defRPr/>
            </a:pPr>
            <a:endParaRPr lang="en-GB" sz="900" dirty="0">
              <a:solidFill>
                <a:prstClr val="white"/>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E9DE4F57-D928-4974-B50D-DF866A7053D3}"/>
              </a:ext>
            </a:extLst>
          </p:cNvPr>
          <p:cNvSpPr txBox="1"/>
          <p:nvPr/>
        </p:nvSpPr>
        <p:spPr>
          <a:xfrm>
            <a:off x="360000" y="2494547"/>
            <a:ext cx="2710855" cy="566420"/>
          </a:xfrm>
          <a:prstGeom prst="rect">
            <a:avLst/>
          </a:prstGeom>
          <a:noFill/>
        </p:spPr>
        <p:txBody>
          <a:bodyPr wrap="square" lIns="0" tIns="0" rIns="0" bIns="0" rtlCol="0">
            <a:noAutofit/>
          </a:bodyPr>
          <a:lstStyle/>
          <a:p>
            <a:pPr defTabSz="914377">
              <a:lnSpc>
                <a:spcPct val="120000"/>
              </a:lnSpc>
              <a:spcAft>
                <a:spcPts val="600"/>
              </a:spcAft>
              <a:defRPr/>
            </a:pPr>
            <a:r>
              <a:rPr lang="en-US" sz="900" b="1" dirty="0">
                <a:solidFill>
                  <a:srgbClr val="F15A28"/>
                </a:solidFill>
                <a:latin typeface="Arial" panose="020B0604020202020204" pitchFamily="34" charset="0"/>
                <a:cs typeface="Arial" panose="020B0604020202020204" pitchFamily="34" charset="0"/>
              </a:rPr>
              <a:t>10 years in data </a:t>
            </a:r>
            <a:r>
              <a:rPr lang="en-US" sz="900" b="1" dirty="0" err="1">
                <a:solidFill>
                  <a:srgbClr val="F15A28"/>
                </a:solidFill>
                <a:latin typeface="Arial" panose="020B0604020202020204" pitchFamily="34" charset="0"/>
                <a:cs typeface="Arial" panose="020B0604020202020204" pitchFamily="34" charset="0"/>
              </a:rPr>
              <a:t>visualisation</a:t>
            </a:r>
            <a:r>
              <a:rPr lang="en-US" sz="900" b="1" dirty="0">
                <a:solidFill>
                  <a:srgbClr val="F15A28"/>
                </a:solidFill>
                <a:latin typeface="Arial" panose="020B0604020202020204" pitchFamily="34" charset="0"/>
                <a:cs typeface="Arial" panose="020B0604020202020204" pitchFamily="34" charset="0"/>
              </a:rPr>
              <a:t> consulting</a:t>
            </a:r>
            <a:br>
              <a:rPr lang="en-US" sz="900" b="1" dirty="0">
                <a:solidFill>
                  <a:srgbClr val="F15A28"/>
                </a:solidFill>
                <a:latin typeface="Arial" panose="020B0604020202020204" pitchFamily="34" charset="0"/>
                <a:cs typeface="Arial" panose="020B0604020202020204" pitchFamily="34" charset="0"/>
              </a:rPr>
            </a:br>
            <a:r>
              <a:rPr lang="en-US" sz="900" b="1" dirty="0">
                <a:solidFill>
                  <a:srgbClr val="F15A28"/>
                </a:solidFill>
                <a:latin typeface="Arial" panose="020B0604020202020204" pitchFamily="34" charset="0"/>
                <a:cs typeface="Arial" panose="020B0604020202020204" pitchFamily="34" charset="0"/>
              </a:rPr>
              <a:t>8 years in higher education.</a:t>
            </a:r>
          </a:p>
        </p:txBody>
      </p:sp>
      <p:sp>
        <p:nvSpPr>
          <p:cNvPr id="30" name="TextBox 29">
            <a:extLst>
              <a:ext uri="{FF2B5EF4-FFF2-40B4-BE49-F238E27FC236}">
                <a16:creationId xmlns:a16="http://schemas.microsoft.com/office/drawing/2014/main" id="{FE4AF094-8137-4A80-AD53-5D164189B0E5}"/>
              </a:ext>
            </a:extLst>
          </p:cNvPr>
          <p:cNvSpPr txBox="1"/>
          <p:nvPr/>
        </p:nvSpPr>
        <p:spPr>
          <a:xfrm>
            <a:off x="9682640" y="3713617"/>
            <a:ext cx="2206905" cy="1612259"/>
          </a:xfrm>
          <a:prstGeom prst="rect">
            <a:avLst/>
          </a:prstGeom>
          <a:noFill/>
        </p:spPr>
        <p:txBody>
          <a:bodyPr wrap="square" lIns="0" tIns="0" rIns="0" bIns="0" rtlCol="0">
            <a:noAutofit/>
          </a:bodyPr>
          <a:lstStyle/>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Data Visualisation</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Machine Learning | Time series</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System Dynamics</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Energy Economics</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Network </a:t>
            </a:r>
            <a:r>
              <a:rPr lang="en-GB" sz="900" dirty="0" err="1">
                <a:solidFill>
                  <a:prstClr val="white"/>
                </a:solidFill>
                <a:latin typeface="Arial" panose="020B0604020202020204" pitchFamily="34" charset="0"/>
                <a:cs typeface="Arial" panose="020B0604020202020204" pitchFamily="34" charset="0"/>
              </a:rPr>
              <a:t>ScienceScience</a:t>
            </a:r>
            <a:r>
              <a:rPr lang="en-GB" sz="900" dirty="0">
                <a:solidFill>
                  <a:prstClr val="white"/>
                </a:solidFill>
                <a:latin typeface="Arial" panose="020B0604020202020204" pitchFamily="34" charset="0"/>
                <a:cs typeface="Arial" panose="020B0604020202020204" pitchFamily="34" charset="0"/>
              </a:rPr>
              <a:t> Communication</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Public Speaking / Lecturing</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Custom </a:t>
            </a:r>
            <a:r>
              <a:rPr lang="en-GB" sz="900" dirty="0" err="1">
                <a:solidFill>
                  <a:prstClr val="white"/>
                </a:solidFill>
                <a:latin typeface="Arial" panose="020B0604020202020204" pitchFamily="34" charset="0"/>
                <a:cs typeface="Arial" panose="020B0604020202020204" pitchFamily="34" charset="0"/>
              </a:rPr>
              <a:t>dataviz</a:t>
            </a:r>
            <a:r>
              <a:rPr lang="en-GB" sz="900" dirty="0">
                <a:solidFill>
                  <a:prstClr val="white"/>
                </a:solidFill>
                <a:latin typeface="Arial" panose="020B0604020202020204" pitchFamily="34" charset="0"/>
                <a:cs typeface="Arial" panose="020B0604020202020204" pitchFamily="34" charset="0"/>
              </a:rPr>
              <a:t> (python, D3.js)</a:t>
            </a:r>
          </a:p>
          <a:p>
            <a:pPr marL="171446" indent="-171446" defTabSz="914377">
              <a:buFont typeface="Arial" panose="020B0604020202020204" pitchFamily="34" charset="0"/>
              <a:buChar char="•"/>
              <a:defRPr/>
            </a:pPr>
            <a:r>
              <a:rPr lang="en-GB" sz="900" dirty="0">
                <a:solidFill>
                  <a:prstClr val="white"/>
                </a:solidFill>
                <a:latin typeface="Arial" panose="020B0604020202020204" pitchFamily="34" charset="0"/>
                <a:cs typeface="Arial" panose="020B0604020202020204" pitchFamily="34" charset="0"/>
              </a:rPr>
              <a:t>Dataviz dashboards (mostly </a:t>
            </a:r>
            <a:r>
              <a:rPr lang="en-GB" sz="900" dirty="0" err="1">
                <a:solidFill>
                  <a:prstClr val="white"/>
                </a:solidFill>
                <a:latin typeface="Arial" panose="020B0604020202020204" pitchFamily="34" charset="0"/>
                <a:cs typeface="Arial" panose="020B0604020202020204" pitchFamily="34" charset="0"/>
              </a:rPr>
              <a:t>PowerBI</a:t>
            </a:r>
            <a:r>
              <a:rPr lang="en-GB" sz="900" dirty="0">
                <a:solidFill>
                  <a:prstClr val="white"/>
                </a:solidFill>
                <a:latin typeface="Arial" panose="020B0604020202020204" pitchFamily="34" charset="0"/>
                <a:cs typeface="Arial" panose="020B0604020202020204" pitchFamily="34" charset="0"/>
              </a:rPr>
              <a:t>, but also Tableau, Qlik, </a:t>
            </a:r>
            <a:r>
              <a:rPr lang="en-GB" sz="900" dirty="0" err="1">
                <a:solidFill>
                  <a:prstClr val="white"/>
                </a:solidFill>
                <a:latin typeface="Arial" panose="020B0604020202020204" pitchFamily="34" charset="0"/>
                <a:cs typeface="Arial" panose="020B0604020202020204" pitchFamily="34" charset="0"/>
              </a:rPr>
              <a:t>microstrategy</a:t>
            </a:r>
            <a:r>
              <a:rPr lang="en-GB" sz="900" dirty="0">
                <a:solidFill>
                  <a:prstClr val="white"/>
                </a:solidFill>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E9DE4F57-D928-4974-B50D-DF866A7053D3}"/>
              </a:ext>
            </a:extLst>
          </p:cNvPr>
          <p:cNvSpPr txBox="1"/>
          <p:nvPr/>
        </p:nvSpPr>
        <p:spPr>
          <a:xfrm>
            <a:off x="9682638" y="5270555"/>
            <a:ext cx="2206903" cy="308631"/>
          </a:xfrm>
          <a:prstGeom prst="rect">
            <a:avLst/>
          </a:prstGeom>
          <a:noFill/>
        </p:spPr>
        <p:txBody>
          <a:bodyPr wrap="square" lIns="0" tIns="0" rIns="0" bIns="0" rtlCol="0">
            <a:noAutofit/>
          </a:bodyPr>
          <a:lstStyle/>
          <a:p>
            <a:pPr defTabSz="914377">
              <a:defRPr/>
            </a:pPr>
            <a:r>
              <a:rPr lang="en-GB" sz="1400" dirty="0">
                <a:solidFill>
                  <a:prstClr val="white"/>
                </a:solidFill>
                <a:latin typeface="Arial" panose="020B0604020202020204" pitchFamily="34" charset="0"/>
                <a:cs typeface="Arial" panose="020B0604020202020204" pitchFamily="34" charset="0"/>
              </a:rPr>
              <a:t>Education</a:t>
            </a:r>
            <a:endParaRPr lang="en-US" sz="1400" b="1" dirty="0">
              <a:solidFill>
                <a:prstClr val="white"/>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209634B0-202F-DB4D-B2FA-481C9DE35864}"/>
              </a:ext>
            </a:extLst>
          </p:cNvPr>
          <p:cNvSpPr txBox="1"/>
          <p:nvPr/>
        </p:nvSpPr>
        <p:spPr>
          <a:xfrm>
            <a:off x="360002" y="5377679"/>
            <a:ext cx="2383197" cy="415498"/>
          </a:xfrm>
          <a:prstGeom prst="rect">
            <a:avLst/>
          </a:prstGeom>
          <a:noFill/>
        </p:spPr>
        <p:txBody>
          <a:bodyPr wrap="square" lIns="0" tIns="0" rIns="0" bIns="0" rtlCol="0">
            <a:spAutoFit/>
          </a:bodyPr>
          <a:lstStyle/>
          <a:p>
            <a:pPr defTabSz="914377">
              <a:defRPr/>
            </a:pPr>
            <a:r>
              <a:rPr lang="en-GB" sz="900" dirty="0">
                <a:solidFill>
                  <a:prstClr val="white"/>
                </a:solidFill>
                <a:latin typeface="Arial" panose="020B0604020202020204" pitchFamily="34" charset="0"/>
                <a:cs typeface="Arial" panose="020B0604020202020204" pitchFamily="34" charset="0"/>
              </a:rPr>
              <a:t>+44 </a:t>
            </a:r>
            <a:r>
              <a:rPr lang="hu-HU" sz="900" dirty="0">
                <a:solidFill>
                  <a:prstClr val="white"/>
                </a:solidFill>
                <a:latin typeface="Arial" panose="020B0604020202020204" pitchFamily="34" charset="0"/>
                <a:cs typeface="Arial" panose="020B0604020202020204" pitchFamily="34" charset="0"/>
              </a:rPr>
              <a:t>739 8483 468</a:t>
            </a:r>
            <a:endParaRPr lang="en-GB" sz="900" dirty="0">
              <a:solidFill>
                <a:prstClr val="white"/>
              </a:solidFill>
              <a:latin typeface="Arial" panose="020B0604020202020204" pitchFamily="34" charset="0"/>
              <a:cs typeface="Arial" panose="020B0604020202020204" pitchFamily="34" charset="0"/>
            </a:endParaRPr>
          </a:p>
          <a:p>
            <a:pPr defTabSz="914377">
              <a:defRPr/>
            </a:pPr>
            <a:r>
              <a:rPr lang="hu-HU" sz="900" dirty="0">
                <a:solidFill>
                  <a:prstClr val="white"/>
                </a:solidFill>
                <a:latin typeface="Arial" panose="020B0604020202020204" pitchFamily="34" charset="0"/>
                <a:cs typeface="Arial" panose="020B0604020202020204" pitchFamily="34" charset="0"/>
                <a:hlinkClick r:id="rId3"/>
              </a:rPr>
              <a:t>denes.csala</a:t>
            </a:r>
            <a:r>
              <a:rPr lang="en-GB" sz="900" dirty="0">
                <a:solidFill>
                  <a:prstClr val="white"/>
                </a:solidFill>
                <a:latin typeface="Arial" panose="020B0604020202020204" pitchFamily="34" charset="0"/>
                <a:cs typeface="Arial" panose="020B0604020202020204" pitchFamily="34" charset="0"/>
                <a:hlinkClick r:id="rId3"/>
              </a:rPr>
              <a:t>@</a:t>
            </a:r>
            <a:r>
              <a:rPr lang="hu-HU" sz="900" dirty="0">
                <a:solidFill>
                  <a:prstClr val="white"/>
                </a:solidFill>
                <a:latin typeface="Arial" panose="020B0604020202020204" pitchFamily="34" charset="0"/>
                <a:cs typeface="Arial" panose="020B0604020202020204" pitchFamily="34" charset="0"/>
                <a:hlinkClick r:id="rId3"/>
              </a:rPr>
              <a:t>infosys.com</a:t>
            </a:r>
            <a:r>
              <a:rPr lang="en-GB" sz="900" dirty="0">
                <a:solidFill>
                  <a:prstClr val="white"/>
                </a:solidFill>
                <a:latin typeface="Arial" panose="020B0604020202020204" pitchFamily="34" charset="0"/>
                <a:cs typeface="Arial" panose="020B0604020202020204" pitchFamily="34" charset="0"/>
              </a:rPr>
              <a:t> </a:t>
            </a:r>
          </a:p>
          <a:p>
            <a:pPr defTabSz="914377">
              <a:defRPr/>
            </a:pPr>
            <a:r>
              <a:rPr lang="hu-HU" sz="900" dirty="0">
                <a:solidFill>
                  <a:prstClr val="white"/>
                </a:solidFill>
                <a:latin typeface="Arial" panose="020B0604020202020204" pitchFamily="34" charset="0"/>
                <a:cs typeface="Arial" panose="020B0604020202020204" pitchFamily="34" charset="0"/>
              </a:rPr>
              <a:t>Lancaster</a:t>
            </a:r>
            <a:r>
              <a:rPr lang="en-GB" sz="900" dirty="0">
                <a:solidFill>
                  <a:prstClr val="white"/>
                </a:solidFill>
                <a:latin typeface="Arial" panose="020B0604020202020204" pitchFamily="34" charset="0"/>
                <a:cs typeface="Arial" panose="020B0604020202020204" pitchFamily="34" charset="0"/>
              </a:rPr>
              <a:t>, UK</a:t>
            </a:r>
          </a:p>
        </p:txBody>
      </p:sp>
      <p:sp>
        <p:nvSpPr>
          <p:cNvPr id="35" name="Title 2">
            <a:extLst>
              <a:ext uri="{FF2B5EF4-FFF2-40B4-BE49-F238E27FC236}">
                <a16:creationId xmlns:a16="http://schemas.microsoft.com/office/drawing/2014/main" id="{81304BF2-6D83-4D4F-8B8C-4D36E4F7547B}"/>
              </a:ext>
            </a:extLst>
          </p:cNvPr>
          <p:cNvSpPr txBox="1">
            <a:spLocks/>
          </p:cNvSpPr>
          <p:nvPr/>
        </p:nvSpPr>
        <p:spPr>
          <a:xfrm>
            <a:off x="1805935" y="773316"/>
            <a:ext cx="4098959" cy="406800"/>
          </a:xfrm>
          <a:prstGeom prst="rect">
            <a:avLst/>
          </a:prstGeom>
        </p:spPr>
        <p:txBody>
          <a:bodyPr lIns="0" tIns="0" rIns="0" bIns="0" anchor="t">
            <a:noAutofit/>
          </a:bodyPr>
          <a:lstStyle>
            <a:lvl1pPr algn="l" defTabSz="914400" rtl="0" eaLnBrk="1" latinLnBrk="0" hangingPunct="1">
              <a:lnSpc>
                <a:spcPct val="100000"/>
              </a:lnSpc>
              <a:spcBef>
                <a:spcPts val="0"/>
              </a:spcBef>
              <a:buNone/>
              <a:defRPr sz="2400" b="0" kern="1200">
                <a:solidFill>
                  <a:schemeClr val="accent2"/>
                </a:solidFill>
                <a:latin typeface="Arial" charset="0"/>
                <a:ea typeface="Arial" charset="0"/>
                <a:cs typeface="Arial" charset="0"/>
              </a:defRPr>
            </a:lvl1pPr>
          </a:lstStyle>
          <a:p>
            <a:pPr defTabSz="914377">
              <a:defRPr/>
            </a:pPr>
            <a:r>
              <a:rPr lang="en-US" dirty="0">
                <a:solidFill>
                  <a:srgbClr val="F15A28"/>
                </a:solidFill>
              </a:rPr>
              <a:t>D</a:t>
            </a:r>
            <a:r>
              <a:rPr lang="hu-HU" dirty="0">
                <a:solidFill>
                  <a:srgbClr val="F15A28"/>
                </a:solidFill>
              </a:rPr>
              <a:t>énes Csala</a:t>
            </a:r>
            <a:endParaRPr lang="en-US" dirty="0">
              <a:solidFill>
                <a:srgbClr val="F15A28"/>
              </a:solidFill>
            </a:endParaRPr>
          </a:p>
        </p:txBody>
      </p:sp>
      <p:sp>
        <p:nvSpPr>
          <p:cNvPr id="36" name="Title 2">
            <a:extLst>
              <a:ext uri="{FF2B5EF4-FFF2-40B4-BE49-F238E27FC236}">
                <a16:creationId xmlns:a16="http://schemas.microsoft.com/office/drawing/2014/main" id="{8909C55D-0F95-304A-885D-797FB3F4102A}"/>
              </a:ext>
            </a:extLst>
          </p:cNvPr>
          <p:cNvSpPr txBox="1">
            <a:spLocks/>
          </p:cNvSpPr>
          <p:nvPr/>
        </p:nvSpPr>
        <p:spPr>
          <a:xfrm>
            <a:off x="1805935" y="1145851"/>
            <a:ext cx="5714748" cy="406800"/>
          </a:xfrm>
          <a:prstGeom prst="rect">
            <a:avLst/>
          </a:prstGeom>
        </p:spPr>
        <p:txBody>
          <a:bodyPr lIns="0" tIns="0" rIns="0" bIns="0" anchor="t">
            <a:noAutofit/>
          </a:bodyPr>
          <a:lstStyle>
            <a:lvl1pPr algn="l" defTabSz="914400" rtl="0" eaLnBrk="1" latinLnBrk="0" hangingPunct="1">
              <a:lnSpc>
                <a:spcPct val="100000"/>
              </a:lnSpc>
              <a:spcBef>
                <a:spcPts val="0"/>
              </a:spcBef>
              <a:buNone/>
              <a:defRPr sz="2400" b="0" kern="1200">
                <a:solidFill>
                  <a:schemeClr val="accent2"/>
                </a:solidFill>
                <a:latin typeface="Arial" charset="0"/>
                <a:ea typeface="Arial" charset="0"/>
                <a:cs typeface="Arial" charset="0"/>
              </a:defRPr>
            </a:lvl1pPr>
          </a:lstStyle>
          <a:p>
            <a:pPr defTabSz="914377">
              <a:defRPr/>
            </a:pPr>
            <a:r>
              <a:rPr lang="en-US" sz="1800" dirty="0">
                <a:solidFill>
                  <a:prstClr val="white"/>
                </a:solidFill>
              </a:rPr>
              <a:t>Senior Consultant, Data Storytelling</a:t>
            </a:r>
          </a:p>
        </p:txBody>
      </p:sp>
      <p:sp>
        <p:nvSpPr>
          <p:cNvPr id="37" name="TextBox 36">
            <a:extLst>
              <a:ext uri="{FF2B5EF4-FFF2-40B4-BE49-F238E27FC236}">
                <a16:creationId xmlns:a16="http://schemas.microsoft.com/office/drawing/2014/main" id="{C52987D6-B91A-0248-B894-05C8DA0F0FFC}"/>
              </a:ext>
            </a:extLst>
          </p:cNvPr>
          <p:cNvSpPr txBox="1"/>
          <p:nvPr/>
        </p:nvSpPr>
        <p:spPr>
          <a:xfrm>
            <a:off x="3821998" y="2117295"/>
            <a:ext cx="4466593" cy="265287"/>
          </a:xfrm>
          <a:prstGeom prst="rect">
            <a:avLst/>
          </a:prstGeom>
          <a:noFill/>
        </p:spPr>
        <p:txBody>
          <a:bodyPr wrap="square" lIns="0" tIns="0" rIns="0" bIns="0" rtlCol="0">
            <a:noAutofit/>
          </a:bodyPr>
          <a:lstStyle/>
          <a:p>
            <a:pPr defTabSz="914377">
              <a:defRPr/>
            </a:pPr>
            <a:r>
              <a:rPr lang="en-GB" sz="1400">
                <a:solidFill>
                  <a:prstClr val="white"/>
                </a:solidFill>
                <a:latin typeface="Arial" panose="020B0604020202020204" pitchFamily="34" charset="0"/>
                <a:cs typeface="Arial" panose="020B0604020202020204" pitchFamily="34" charset="0"/>
              </a:rPr>
              <a:t>Project Highlights</a:t>
            </a:r>
            <a:endParaRPr lang="en-GB" sz="1000">
              <a:solidFill>
                <a:prstClr val="white"/>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96976FF-1DD2-CC46-8E77-F51448377EDA}"/>
              </a:ext>
            </a:extLst>
          </p:cNvPr>
          <p:cNvSpPr txBox="1"/>
          <p:nvPr/>
        </p:nvSpPr>
        <p:spPr>
          <a:xfrm>
            <a:off x="360002" y="2117295"/>
            <a:ext cx="2710855" cy="349955"/>
          </a:xfrm>
          <a:prstGeom prst="rect">
            <a:avLst/>
          </a:prstGeom>
          <a:noFill/>
        </p:spPr>
        <p:txBody>
          <a:bodyPr wrap="square" lIns="0" tIns="0" rIns="0" bIns="0" rtlCol="0">
            <a:noAutofit/>
          </a:bodyPr>
          <a:lstStyle/>
          <a:p>
            <a:pPr defTabSz="914377">
              <a:defRPr/>
            </a:pPr>
            <a:r>
              <a:rPr lang="en-GB" sz="1400">
                <a:solidFill>
                  <a:prstClr val="white"/>
                </a:solidFill>
                <a:latin typeface="Arial" panose="020B0604020202020204" pitchFamily="34" charset="0"/>
                <a:cs typeface="Arial" panose="020B0604020202020204" pitchFamily="34" charset="0"/>
              </a:rPr>
              <a:t>Summary</a:t>
            </a:r>
            <a:endParaRPr lang="en-US" sz="1000">
              <a:solidFill>
                <a:prstClr val="white"/>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56C63DB0-5C78-444A-B528-2C92463620F5}"/>
              </a:ext>
            </a:extLst>
          </p:cNvPr>
          <p:cNvSpPr txBox="1"/>
          <p:nvPr/>
        </p:nvSpPr>
        <p:spPr>
          <a:xfrm>
            <a:off x="9682639" y="2117295"/>
            <a:ext cx="2961263" cy="349955"/>
          </a:xfrm>
          <a:prstGeom prst="rect">
            <a:avLst/>
          </a:prstGeom>
          <a:noFill/>
        </p:spPr>
        <p:txBody>
          <a:bodyPr wrap="square" lIns="0" tIns="0" rIns="0" bIns="0" rtlCol="0">
            <a:noAutofit/>
          </a:bodyPr>
          <a:lstStyle/>
          <a:p>
            <a:pPr defTabSz="914377">
              <a:defRPr/>
            </a:pPr>
            <a:r>
              <a:rPr lang="en-GB" sz="1400" dirty="0">
                <a:solidFill>
                  <a:prstClr val="white"/>
                </a:solidFill>
                <a:latin typeface="Arial" panose="020B0604020202020204" pitchFamily="34" charset="0"/>
                <a:cs typeface="Arial" panose="020B0604020202020204" pitchFamily="34" charset="0"/>
              </a:rPr>
              <a:t>Industry Specialization</a:t>
            </a:r>
            <a:endParaRPr lang="en-GB" sz="800" dirty="0">
              <a:solidFill>
                <a:prstClr val="white"/>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98953197-0452-B849-A8FB-10B3A2D89901}"/>
              </a:ext>
            </a:extLst>
          </p:cNvPr>
          <p:cNvSpPr txBox="1"/>
          <p:nvPr/>
        </p:nvSpPr>
        <p:spPr>
          <a:xfrm>
            <a:off x="9682639" y="5614636"/>
            <a:ext cx="2206903" cy="467764"/>
          </a:xfrm>
          <a:prstGeom prst="rect">
            <a:avLst/>
          </a:prstGeom>
          <a:noFill/>
        </p:spPr>
        <p:txBody>
          <a:bodyPr wrap="square" lIns="0" tIns="0" rIns="0" bIns="0" rtlCol="0">
            <a:noAutofit/>
          </a:bodyPr>
          <a:lstStyle/>
          <a:p>
            <a:pPr defTabSz="914377">
              <a:defRPr/>
            </a:pPr>
            <a:r>
              <a:rPr lang="en-US" sz="900" dirty="0">
                <a:solidFill>
                  <a:prstClr val="white"/>
                </a:solidFill>
                <a:latin typeface="Arial" panose="020B0604020202020204" pitchFamily="34" charset="0"/>
                <a:cs typeface="Arial" panose="020B0604020202020204" pitchFamily="34" charset="0"/>
              </a:rPr>
              <a:t>MSc in Engineering Systems and Management and PhD in Interdisciplinary Engineering, both from Masdar Institute, UAE – in collaboration with MIT, USA</a:t>
            </a:r>
          </a:p>
          <a:p>
            <a:pPr defTabSz="914377">
              <a:defRPr/>
            </a:pPr>
            <a:endParaRPr lang="en-US" sz="900" dirty="0">
              <a:solidFill>
                <a:prstClr val="white"/>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CFAFBF8C-CFA7-DA4B-96C9-E7B1D4E90538}"/>
              </a:ext>
            </a:extLst>
          </p:cNvPr>
          <p:cNvSpPr txBox="1"/>
          <p:nvPr/>
        </p:nvSpPr>
        <p:spPr>
          <a:xfrm>
            <a:off x="9682638" y="2494546"/>
            <a:ext cx="2206905" cy="934454"/>
          </a:xfrm>
          <a:prstGeom prst="rect">
            <a:avLst/>
          </a:prstGeom>
          <a:noFill/>
        </p:spPr>
        <p:txBody>
          <a:bodyPr wrap="square" lIns="0" tIns="0" rIns="0" bIns="0" rtlCol="0">
            <a:noAutofit/>
          </a:bodyPr>
          <a:lstStyle/>
          <a:p>
            <a:pPr marL="171446" indent="-171446" defTabSz="914377">
              <a:buFont typeface="Arial" panose="020B0604020202020204" pitchFamily="34" charset="0"/>
              <a:buChar char="•"/>
              <a:defRPr/>
            </a:pPr>
            <a:r>
              <a:rPr lang="en-US" sz="900" dirty="0">
                <a:solidFill>
                  <a:prstClr val="white"/>
                </a:solidFill>
                <a:latin typeface="Arial" pitchFamily="34" charset="0"/>
                <a:cs typeface="Arial" pitchFamily="34" charset="0"/>
              </a:rPr>
              <a:t>Data Science</a:t>
            </a:r>
          </a:p>
          <a:p>
            <a:pPr marL="171446" indent="-171446" defTabSz="914377">
              <a:buFont typeface="Arial" panose="020B0604020202020204" pitchFamily="34" charset="0"/>
              <a:buChar char="•"/>
              <a:defRPr/>
            </a:pPr>
            <a:r>
              <a:rPr lang="en-US" sz="900" dirty="0">
                <a:solidFill>
                  <a:prstClr val="white"/>
                </a:solidFill>
                <a:latin typeface="Arial" pitchFamily="34" charset="0"/>
                <a:cs typeface="Arial" pitchFamily="34" charset="0"/>
              </a:rPr>
              <a:t>Energy</a:t>
            </a:r>
          </a:p>
          <a:p>
            <a:pPr marL="171446" indent="-171446" defTabSz="914377">
              <a:buFont typeface="Arial" panose="020B0604020202020204" pitchFamily="34" charset="0"/>
              <a:buChar char="•"/>
              <a:defRPr/>
            </a:pPr>
            <a:r>
              <a:rPr lang="en-US" sz="900" dirty="0">
                <a:solidFill>
                  <a:prstClr val="white"/>
                </a:solidFill>
                <a:latin typeface="Arial" pitchFamily="34" charset="0"/>
                <a:cs typeface="Arial" pitchFamily="34" charset="0"/>
              </a:rPr>
              <a:t>Higher Education</a:t>
            </a:r>
          </a:p>
          <a:p>
            <a:pPr marL="171446" indent="-171446" defTabSz="914377">
              <a:buFont typeface="Arial" panose="020B0604020202020204" pitchFamily="34" charset="0"/>
              <a:buChar char="•"/>
              <a:defRPr/>
            </a:pPr>
            <a:r>
              <a:rPr lang="en-US" sz="900" dirty="0">
                <a:solidFill>
                  <a:prstClr val="white"/>
                </a:solidFill>
                <a:latin typeface="Arial" pitchFamily="34" charset="0"/>
                <a:cs typeface="Arial" pitchFamily="34" charset="0"/>
              </a:rPr>
              <a:t>Simulation Modelling</a:t>
            </a:r>
          </a:p>
          <a:p>
            <a:pPr marL="171446" indent="-171446" defTabSz="914377">
              <a:buFont typeface="Arial" panose="020B0604020202020204" pitchFamily="34" charset="0"/>
              <a:buChar char="•"/>
              <a:defRPr/>
            </a:pPr>
            <a:r>
              <a:rPr lang="en-US" sz="900" dirty="0">
                <a:solidFill>
                  <a:prstClr val="white"/>
                </a:solidFill>
                <a:latin typeface="Arial" pitchFamily="34" charset="0"/>
                <a:cs typeface="Arial" pitchFamily="34" charset="0"/>
              </a:rPr>
              <a:t>Engineering</a:t>
            </a:r>
          </a:p>
        </p:txBody>
      </p:sp>
      <p:sp>
        <p:nvSpPr>
          <p:cNvPr id="42" name="TextBox 41">
            <a:extLst>
              <a:ext uri="{FF2B5EF4-FFF2-40B4-BE49-F238E27FC236}">
                <a16:creationId xmlns:a16="http://schemas.microsoft.com/office/drawing/2014/main" id="{DE2B7786-C509-134A-8243-92339992CFFD}"/>
              </a:ext>
            </a:extLst>
          </p:cNvPr>
          <p:cNvSpPr txBox="1"/>
          <p:nvPr/>
        </p:nvSpPr>
        <p:spPr>
          <a:xfrm>
            <a:off x="9682637" y="3370209"/>
            <a:ext cx="2206905" cy="363956"/>
          </a:xfrm>
          <a:prstGeom prst="rect">
            <a:avLst/>
          </a:prstGeom>
          <a:noFill/>
        </p:spPr>
        <p:txBody>
          <a:bodyPr wrap="square" lIns="0" tIns="0" rIns="0" bIns="0" rtlCol="0">
            <a:noAutofit/>
          </a:bodyPr>
          <a:lstStyle/>
          <a:p>
            <a:pPr defTabSz="914377">
              <a:defRPr/>
            </a:pPr>
            <a:r>
              <a:rPr lang="en-GB" sz="1400" dirty="0">
                <a:solidFill>
                  <a:prstClr val="white"/>
                </a:solidFill>
                <a:latin typeface="Arial" panose="020B0604020202020204" pitchFamily="34" charset="0"/>
                <a:cs typeface="Arial" panose="020B0604020202020204" pitchFamily="34" charset="0"/>
              </a:rPr>
              <a:t>Functional Expertise</a:t>
            </a:r>
          </a:p>
        </p:txBody>
      </p:sp>
      <p:grpSp>
        <p:nvGrpSpPr>
          <p:cNvPr id="23" name="Group 22">
            <a:extLst>
              <a:ext uri="{FF2B5EF4-FFF2-40B4-BE49-F238E27FC236}">
                <a16:creationId xmlns:a16="http://schemas.microsoft.com/office/drawing/2014/main" id="{C0BF8BD2-F580-AB46-84A4-86E9780650D6}"/>
              </a:ext>
            </a:extLst>
          </p:cNvPr>
          <p:cNvGrpSpPr/>
          <p:nvPr/>
        </p:nvGrpSpPr>
        <p:grpSpPr>
          <a:xfrm>
            <a:off x="360000" y="5950223"/>
            <a:ext cx="258988" cy="258988"/>
            <a:chOff x="8056899" y="4187858"/>
            <a:chExt cx="484287" cy="484287"/>
          </a:xfrm>
        </p:grpSpPr>
        <p:sp>
          <p:nvSpPr>
            <p:cNvPr id="25" name="Oval 24">
              <a:hlinkClick r:id="rId4"/>
              <a:extLst>
                <a:ext uri="{FF2B5EF4-FFF2-40B4-BE49-F238E27FC236}">
                  <a16:creationId xmlns:a16="http://schemas.microsoft.com/office/drawing/2014/main" id="{80D57921-A136-6B43-857E-8944EA75DA8C}"/>
                </a:ext>
              </a:extLst>
            </p:cNvPr>
            <p:cNvSpPr/>
            <p:nvPr/>
          </p:nvSpPr>
          <p:spPr>
            <a:xfrm>
              <a:off x="8056899" y="4187858"/>
              <a:ext cx="484287" cy="484287"/>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latin typeface="Arial" charset="0"/>
              </a:endParaRPr>
            </a:p>
          </p:txBody>
        </p:sp>
        <p:sp>
          <p:nvSpPr>
            <p:cNvPr id="27" name="Freeform 26">
              <a:hlinkClick r:id="rId4"/>
              <a:extLst>
                <a:ext uri="{FF2B5EF4-FFF2-40B4-BE49-F238E27FC236}">
                  <a16:creationId xmlns:a16="http://schemas.microsoft.com/office/drawing/2014/main" id="{02C14823-F7A5-6F4F-A790-C2AFD762DFF4}"/>
                </a:ext>
              </a:extLst>
            </p:cNvPr>
            <p:cNvSpPr/>
            <p:nvPr/>
          </p:nvSpPr>
          <p:spPr>
            <a:xfrm>
              <a:off x="8178934" y="4292557"/>
              <a:ext cx="240060" cy="241936"/>
            </a:xfrm>
            <a:custGeom>
              <a:avLst/>
              <a:gdLst>
                <a:gd name="connsiteX0" fmla="*/ 66923 w 297711"/>
                <a:gd name="connsiteY0" fmla="*/ 300037 h 300037"/>
                <a:gd name="connsiteX1" fmla="*/ 5286 w 297711"/>
                <a:gd name="connsiteY1" fmla="*/ 300037 h 300037"/>
                <a:gd name="connsiteX2" fmla="*/ 5286 w 297711"/>
                <a:gd name="connsiteY2" fmla="*/ 100012 h 300037"/>
                <a:gd name="connsiteX3" fmla="*/ 66923 w 297711"/>
                <a:gd name="connsiteY3" fmla="*/ 100012 h 300037"/>
                <a:gd name="connsiteX4" fmla="*/ 36057 w 297711"/>
                <a:gd name="connsiteY4" fmla="*/ 72390 h 300037"/>
                <a:gd name="connsiteX5" fmla="*/ 1 w 297711"/>
                <a:gd name="connsiteY5" fmla="*/ 36385 h 300037"/>
                <a:gd name="connsiteX6" fmla="*/ 35681 w 297711"/>
                <a:gd name="connsiteY6" fmla="*/ 1 h 300037"/>
                <a:gd name="connsiteX7" fmla="*/ 71737 w 297711"/>
                <a:gd name="connsiteY7" fmla="*/ 36004 h 300037"/>
                <a:gd name="connsiteX8" fmla="*/ 71737 w 297711"/>
                <a:gd name="connsiteY8" fmla="*/ 36004 h 300037"/>
                <a:gd name="connsiteX9" fmla="*/ 36058 w 297711"/>
                <a:gd name="connsiteY9" fmla="*/ 72390 h 300037"/>
                <a:gd name="connsiteX10" fmla="*/ 36057 w 297711"/>
                <a:gd name="connsiteY10" fmla="*/ 72390 h 300037"/>
                <a:gd name="connsiteX11" fmla="*/ 297617 w 297711"/>
                <a:gd name="connsiteY11" fmla="*/ 300037 h 300037"/>
                <a:gd name="connsiteX12" fmla="*/ 236168 w 297711"/>
                <a:gd name="connsiteY12" fmla="*/ 300037 h 300037"/>
                <a:gd name="connsiteX13" fmla="*/ 236168 w 297711"/>
                <a:gd name="connsiteY13" fmla="*/ 202501 h 300037"/>
                <a:gd name="connsiteX14" fmla="*/ 204075 w 297711"/>
                <a:gd name="connsiteY14" fmla="*/ 149447 h 300037"/>
                <a:gd name="connsiteX15" fmla="*/ 167073 w 297711"/>
                <a:gd name="connsiteY15" fmla="*/ 200882 h 300037"/>
                <a:gd name="connsiteX16" fmla="*/ 167073 w 297711"/>
                <a:gd name="connsiteY16" fmla="*/ 300037 h 300037"/>
                <a:gd name="connsiteX17" fmla="*/ 105530 w 297711"/>
                <a:gd name="connsiteY17" fmla="*/ 300037 h 300037"/>
                <a:gd name="connsiteX18" fmla="*/ 105530 w 297711"/>
                <a:gd name="connsiteY18" fmla="*/ 100012 h 300037"/>
                <a:gd name="connsiteX19" fmla="*/ 164713 w 297711"/>
                <a:gd name="connsiteY19" fmla="*/ 100012 h 300037"/>
                <a:gd name="connsiteX20" fmla="*/ 164713 w 297711"/>
                <a:gd name="connsiteY20" fmla="*/ 127349 h 300037"/>
                <a:gd name="connsiteX21" fmla="*/ 165563 w 297711"/>
                <a:gd name="connsiteY21" fmla="*/ 127349 h 300037"/>
                <a:gd name="connsiteX22" fmla="*/ 223897 w 297711"/>
                <a:gd name="connsiteY22" fmla="*/ 94964 h 300037"/>
                <a:gd name="connsiteX23" fmla="*/ 297712 w 297711"/>
                <a:gd name="connsiteY23" fmla="*/ 190214 h 300037"/>
                <a:gd name="connsiteX24" fmla="*/ 297712 w 297711"/>
                <a:gd name="connsiteY24" fmla="*/ 300037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7711" h="300037">
                  <a:moveTo>
                    <a:pt x="66923" y="300037"/>
                  </a:moveTo>
                  <a:lnTo>
                    <a:pt x="5286" y="300037"/>
                  </a:lnTo>
                  <a:lnTo>
                    <a:pt x="5286" y="100012"/>
                  </a:lnTo>
                  <a:lnTo>
                    <a:pt x="66923" y="100012"/>
                  </a:lnTo>
                  <a:close/>
                  <a:moveTo>
                    <a:pt x="36057" y="72390"/>
                  </a:moveTo>
                  <a:cubicBezTo>
                    <a:pt x="16247" y="72494"/>
                    <a:pt x="104" y="56375"/>
                    <a:pt x="1" y="36385"/>
                  </a:cubicBezTo>
                  <a:cubicBezTo>
                    <a:pt x="-103" y="16395"/>
                    <a:pt x="15872" y="105"/>
                    <a:pt x="35681" y="1"/>
                  </a:cubicBezTo>
                  <a:cubicBezTo>
                    <a:pt x="55490" y="-104"/>
                    <a:pt x="71633" y="16015"/>
                    <a:pt x="71737" y="36004"/>
                  </a:cubicBezTo>
                  <a:lnTo>
                    <a:pt x="71737" y="36004"/>
                  </a:lnTo>
                  <a:cubicBezTo>
                    <a:pt x="71842" y="55994"/>
                    <a:pt x="55868" y="72284"/>
                    <a:pt x="36058" y="72390"/>
                  </a:cubicBezTo>
                  <a:cubicBezTo>
                    <a:pt x="36058" y="72390"/>
                    <a:pt x="36057" y="72390"/>
                    <a:pt x="36057" y="72390"/>
                  </a:cubicBezTo>
                  <a:close/>
                  <a:moveTo>
                    <a:pt x="297617" y="300037"/>
                  </a:moveTo>
                  <a:lnTo>
                    <a:pt x="236168" y="300037"/>
                  </a:lnTo>
                  <a:lnTo>
                    <a:pt x="236168" y="202501"/>
                  </a:lnTo>
                  <a:cubicBezTo>
                    <a:pt x="236168" y="179260"/>
                    <a:pt x="236168" y="149447"/>
                    <a:pt x="204075" y="149447"/>
                  </a:cubicBezTo>
                  <a:cubicBezTo>
                    <a:pt x="171982" y="149447"/>
                    <a:pt x="167073" y="174688"/>
                    <a:pt x="167073" y="200882"/>
                  </a:cubicBezTo>
                  <a:lnTo>
                    <a:pt x="167073" y="300037"/>
                  </a:lnTo>
                  <a:lnTo>
                    <a:pt x="105530" y="300037"/>
                  </a:lnTo>
                  <a:lnTo>
                    <a:pt x="105530" y="100012"/>
                  </a:lnTo>
                  <a:lnTo>
                    <a:pt x="164713" y="100012"/>
                  </a:lnTo>
                  <a:lnTo>
                    <a:pt x="164713" y="127349"/>
                  </a:lnTo>
                  <a:lnTo>
                    <a:pt x="165563" y="127349"/>
                  </a:lnTo>
                  <a:cubicBezTo>
                    <a:pt x="177613" y="106536"/>
                    <a:pt x="200025" y="94093"/>
                    <a:pt x="223897" y="94964"/>
                  </a:cubicBezTo>
                  <a:cubicBezTo>
                    <a:pt x="286290" y="94964"/>
                    <a:pt x="297712" y="136398"/>
                    <a:pt x="297712" y="190214"/>
                  </a:cubicBezTo>
                  <a:lnTo>
                    <a:pt x="297712" y="300037"/>
                  </a:lnTo>
                  <a:close/>
                </a:path>
              </a:pathLst>
            </a:custGeom>
            <a:solidFill>
              <a:srgbClr val="FFFFFF"/>
            </a:solidFill>
            <a:ln w="9396" cap="flat">
              <a:noFill/>
              <a:prstDash val="solid"/>
              <a:miter/>
            </a:ln>
          </p:spPr>
          <p:txBody>
            <a:bodyPr rtlCol="0" anchor="ctr"/>
            <a:lstStyle/>
            <a:p>
              <a:endParaRPr lang="en-GB" dirty="0"/>
            </a:p>
          </p:txBody>
        </p:sp>
      </p:grpSp>
      <p:pic>
        <p:nvPicPr>
          <p:cNvPr id="22" name="Picture 21">
            <a:extLst>
              <a:ext uri="{FF2B5EF4-FFF2-40B4-BE49-F238E27FC236}">
                <a16:creationId xmlns:a16="http://schemas.microsoft.com/office/drawing/2014/main" id="{D88B13B7-085D-764A-85E7-B5EB9BD8D938}"/>
              </a:ext>
            </a:extLst>
          </p:cNvPr>
          <p:cNvPicPr>
            <a:picLocks noChangeAspect="1"/>
          </p:cNvPicPr>
          <p:nvPr/>
        </p:nvPicPr>
        <p:blipFill rotWithShape="1">
          <a:blip r:embed="rId5"/>
          <a:srcRect l="-1194" t="6596" r="1194" b="22198"/>
          <a:stretch/>
        </p:blipFill>
        <p:spPr>
          <a:xfrm>
            <a:off x="346552" y="582451"/>
            <a:ext cx="1126800" cy="1126800"/>
          </a:xfrm>
          <a:prstGeom prst="ellipse">
            <a:avLst/>
          </a:prstGeom>
        </p:spPr>
      </p:pic>
      <p:sp>
        <p:nvSpPr>
          <p:cNvPr id="21" name="TextBox 20">
            <a:extLst>
              <a:ext uri="{FF2B5EF4-FFF2-40B4-BE49-F238E27FC236}">
                <a16:creationId xmlns:a16="http://schemas.microsoft.com/office/drawing/2014/main" id="{ED4D0F5E-6E56-7246-9E26-98C33F791DEF}"/>
              </a:ext>
            </a:extLst>
          </p:cNvPr>
          <p:cNvSpPr txBox="1"/>
          <p:nvPr/>
        </p:nvSpPr>
        <p:spPr>
          <a:xfrm>
            <a:off x="360000" y="3068617"/>
            <a:ext cx="2710855" cy="2288234"/>
          </a:xfrm>
          <a:prstGeom prst="rect">
            <a:avLst/>
          </a:prstGeom>
          <a:noFill/>
        </p:spPr>
        <p:txBody>
          <a:bodyPr wrap="square" lIns="0" tIns="0" rIns="0" bIns="0" rtlCol="0">
            <a:noAutofit/>
          </a:bodyPr>
          <a:lstStyle/>
          <a:p>
            <a:pPr defTabSz="914377">
              <a:lnSpc>
                <a:spcPct val="120000"/>
              </a:lnSpc>
              <a:spcAft>
                <a:spcPts val="600"/>
              </a:spcAft>
              <a:defRPr/>
            </a:pPr>
            <a:r>
              <a:rPr lang="en-US" sz="900" dirty="0">
                <a:solidFill>
                  <a:prstClr val="white"/>
                </a:solidFill>
                <a:latin typeface="Arial" panose="020B0604020202020204" pitchFamily="34" charset="0"/>
                <a:cs typeface="Arial" panose="020B0604020202020204" pitchFamily="34" charset="0"/>
              </a:rPr>
              <a:t>Dénes is a data scientist experienced in data </a:t>
            </a:r>
            <a:r>
              <a:rPr lang="en-US" sz="900" dirty="0" err="1">
                <a:solidFill>
                  <a:prstClr val="white"/>
                </a:solidFill>
                <a:latin typeface="Arial" panose="020B0604020202020204" pitchFamily="34" charset="0"/>
                <a:cs typeface="Arial" panose="020B0604020202020204" pitchFamily="34" charset="0"/>
              </a:rPr>
              <a:t>visualisation</a:t>
            </a:r>
            <a:r>
              <a:rPr lang="en-US" sz="900" dirty="0">
                <a:solidFill>
                  <a:prstClr val="white"/>
                </a:solidFill>
                <a:latin typeface="Arial" panose="020B0604020202020204" pitchFamily="34" charset="0"/>
                <a:cs typeface="Arial" panose="020B0604020202020204" pitchFamily="34" charset="0"/>
              </a:rPr>
              <a:t> and has worked with clients across multiple industries, with stakeholders of the highest decision-making levels. He has also delivered lectures to university-level audiences, appeared in national and international media on energy policy and has published several research papers in scientific outlets of the highest international recognition. </a:t>
            </a:r>
          </a:p>
        </p:txBody>
      </p:sp>
      <p:sp>
        <p:nvSpPr>
          <p:cNvPr id="31" name="Oval 30">
            <a:hlinkClick r:id="rId6"/>
            <a:extLst>
              <a:ext uri="{FF2B5EF4-FFF2-40B4-BE49-F238E27FC236}">
                <a16:creationId xmlns:a16="http://schemas.microsoft.com/office/drawing/2014/main" id="{0A1EBEDE-78D6-45C7-B5C3-3DA4E6AA8ACB}"/>
              </a:ext>
            </a:extLst>
          </p:cNvPr>
          <p:cNvSpPr/>
          <p:nvPr/>
        </p:nvSpPr>
        <p:spPr>
          <a:xfrm>
            <a:off x="693263" y="5947237"/>
            <a:ext cx="258988" cy="25898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latin typeface="Arial" charset="0"/>
            </a:endParaRPr>
          </a:p>
        </p:txBody>
      </p:sp>
      <p:sp>
        <p:nvSpPr>
          <p:cNvPr id="43" name="Oval 42">
            <a:hlinkClick r:id="rId7"/>
            <a:extLst>
              <a:ext uri="{FF2B5EF4-FFF2-40B4-BE49-F238E27FC236}">
                <a16:creationId xmlns:a16="http://schemas.microsoft.com/office/drawing/2014/main" id="{6FF82AD6-5377-4B67-B9B9-23C9949913C2}"/>
              </a:ext>
            </a:extLst>
          </p:cNvPr>
          <p:cNvSpPr/>
          <p:nvPr/>
        </p:nvSpPr>
        <p:spPr>
          <a:xfrm>
            <a:off x="1030162" y="5947237"/>
            <a:ext cx="258988" cy="25898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latin typeface="Arial" charset="0"/>
            </a:endParaRPr>
          </a:p>
        </p:txBody>
      </p:sp>
      <p:pic>
        <p:nvPicPr>
          <p:cNvPr id="4" name="Graphic 3" descr="Storytelling with solid fill">
            <a:hlinkClick r:id="rId7"/>
            <a:extLst>
              <a:ext uri="{FF2B5EF4-FFF2-40B4-BE49-F238E27FC236}">
                <a16:creationId xmlns:a16="http://schemas.microsoft.com/office/drawing/2014/main" id="{F706B480-B934-4D23-BC58-7EDB3B3025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69419" y="5980668"/>
            <a:ext cx="182132" cy="182132"/>
          </a:xfrm>
          <a:prstGeom prst="rect">
            <a:avLst/>
          </a:prstGeom>
        </p:spPr>
      </p:pic>
      <p:sp>
        <p:nvSpPr>
          <p:cNvPr id="46" name="TextBox 45">
            <a:hlinkClick r:id="rId7"/>
            <a:extLst>
              <a:ext uri="{FF2B5EF4-FFF2-40B4-BE49-F238E27FC236}">
                <a16:creationId xmlns:a16="http://schemas.microsoft.com/office/drawing/2014/main" id="{9EB54E21-4193-40A2-B909-8A2468CFF5DB}"/>
              </a:ext>
            </a:extLst>
          </p:cNvPr>
          <p:cNvSpPr txBox="1"/>
          <p:nvPr/>
        </p:nvSpPr>
        <p:spPr>
          <a:xfrm>
            <a:off x="1030162" y="6256900"/>
            <a:ext cx="317335" cy="135865"/>
          </a:xfrm>
          <a:prstGeom prst="rect">
            <a:avLst/>
          </a:prstGeom>
          <a:noFill/>
        </p:spPr>
        <p:txBody>
          <a:bodyPr wrap="square" lIns="0" tIns="0" rIns="0" bIns="0" rtlCol="0">
            <a:noAutofit/>
          </a:bodyPr>
          <a:lstStyle/>
          <a:p>
            <a:pPr defTabSz="914377">
              <a:lnSpc>
                <a:spcPct val="120000"/>
              </a:lnSpc>
              <a:spcAft>
                <a:spcPts val="600"/>
              </a:spcAft>
              <a:defRPr/>
            </a:pPr>
            <a:r>
              <a:rPr lang="en-US" sz="600" dirty="0">
                <a:solidFill>
                  <a:prstClr val="white"/>
                </a:solidFill>
                <a:latin typeface="Arial" panose="020B0604020202020204" pitchFamily="34" charset="0"/>
                <a:cs typeface="Arial" panose="020B0604020202020204" pitchFamily="34" charset="0"/>
              </a:rPr>
              <a:t>portfolio</a:t>
            </a:r>
          </a:p>
        </p:txBody>
      </p:sp>
      <p:sp>
        <p:nvSpPr>
          <p:cNvPr id="47" name="TextBox 46">
            <a:hlinkClick r:id="rId6"/>
            <a:extLst>
              <a:ext uri="{FF2B5EF4-FFF2-40B4-BE49-F238E27FC236}">
                <a16:creationId xmlns:a16="http://schemas.microsoft.com/office/drawing/2014/main" id="{91B10DF2-EDE5-494A-AE78-28E753CA2013}"/>
              </a:ext>
            </a:extLst>
          </p:cNvPr>
          <p:cNvSpPr txBox="1"/>
          <p:nvPr/>
        </p:nvSpPr>
        <p:spPr>
          <a:xfrm>
            <a:off x="687346" y="6256900"/>
            <a:ext cx="286585" cy="135865"/>
          </a:xfrm>
          <a:prstGeom prst="rect">
            <a:avLst/>
          </a:prstGeom>
          <a:noFill/>
        </p:spPr>
        <p:txBody>
          <a:bodyPr wrap="square" lIns="0" tIns="0" rIns="0" bIns="0" rtlCol="0">
            <a:noAutofit/>
          </a:bodyPr>
          <a:lstStyle/>
          <a:p>
            <a:pPr defTabSz="914377">
              <a:lnSpc>
                <a:spcPct val="120000"/>
              </a:lnSpc>
              <a:spcAft>
                <a:spcPts val="600"/>
              </a:spcAft>
              <a:defRPr/>
            </a:pPr>
            <a:r>
              <a:rPr lang="en-US" sz="600" dirty="0">
                <a:solidFill>
                  <a:prstClr val="white"/>
                </a:solidFill>
                <a:latin typeface="Arial" panose="020B0604020202020204" pitchFamily="34" charset="0"/>
                <a:cs typeface="Arial" panose="020B0604020202020204" pitchFamily="34" charset="0"/>
              </a:rPr>
              <a:t>website</a:t>
            </a:r>
          </a:p>
        </p:txBody>
      </p:sp>
      <p:pic>
        <p:nvPicPr>
          <p:cNvPr id="6" name="Graphic 5" descr="World with solid fill">
            <a:hlinkClick r:id="rId6"/>
            <a:extLst>
              <a:ext uri="{FF2B5EF4-FFF2-40B4-BE49-F238E27FC236}">
                <a16:creationId xmlns:a16="http://schemas.microsoft.com/office/drawing/2014/main" id="{071BD501-10F9-44DC-96DF-E329E754B1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23900" y="5978287"/>
            <a:ext cx="198543" cy="198543"/>
          </a:xfrm>
          <a:prstGeom prst="rect">
            <a:avLst/>
          </a:prstGeom>
        </p:spPr>
      </p:pic>
    </p:spTree>
    <p:extLst>
      <p:ext uri="{BB962C8B-B14F-4D97-AF65-F5344CB8AC3E}">
        <p14:creationId xmlns:p14="http://schemas.microsoft.com/office/powerpoint/2010/main" val="263533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TEXT" val="{Short Title}     © Infosys Consulting {Creation date:yyy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Y7bUUonu3zjY3rBdA0B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hm.0RbdFfvhhyDQMXjHrg"/>
</p:tagLst>
</file>

<file path=ppt/theme/theme1.xml><?xml version="1.0" encoding="utf-8"?>
<a:theme xmlns:a="http://schemas.openxmlformats.org/drawingml/2006/main" name="Digital-DarkMode-Master">
  <a:themeElements>
    <a:clrScheme name="Benutzerdefiniert 2">
      <a:dk1>
        <a:srgbClr val="000000"/>
      </a:dk1>
      <a:lt1>
        <a:srgbClr val="FFFFFF"/>
      </a:lt1>
      <a:dk2>
        <a:srgbClr val="6D6E71"/>
      </a:dk2>
      <a:lt2>
        <a:srgbClr val="E7E6E6"/>
      </a:lt2>
      <a:accent1>
        <a:srgbClr val="007BC3"/>
      </a:accent1>
      <a:accent2>
        <a:srgbClr val="209CD7"/>
      </a:accent2>
      <a:accent3>
        <a:srgbClr val="F78E1D"/>
      </a:accent3>
      <a:accent4>
        <a:srgbClr val="A0DDF3"/>
      </a:accent4>
      <a:accent5>
        <a:srgbClr val="D4EDF6"/>
      </a:accent5>
      <a:accent6>
        <a:srgbClr val="204099"/>
      </a:accent6>
      <a:hlink>
        <a:srgbClr val="A7A8AB"/>
      </a:hlink>
      <a:folHlink>
        <a:srgbClr val="A7A8AB"/>
      </a:folHlink>
    </a:clrScheme>
    <a:fontScheme name="Office-Design">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40ACBC9554744EA929F2EDD4D9682F" ma:contentTypeVersion="11" ma:contentTypeDescription="Create a new document." ma:contentTypeScope="" ma:versionID="11c89a7d55886754224df46a0ed4de7f">
  <xsd:schema xmlns:xsd="http://www.w3.org/2001/XMLSchema" xmlns:xs="http://www.w3.org/2001/XMLSchema" xmlns:p="http://schemas.microsoft.com/office/2006/metadata/properties" xmlns:ns2="73537f51-c2e5-4500-aefb-a3ff05abd76a" xmlns:ns3="6acd6df8-90e3-4dea-b9cf-076af9da41a3" targetNamespace="http://schemas.microsoft.com/office/2006/metadata/properties" ma:root="true" ma:fieldsID="059a3f0ee396a31d4134f8d7e19d4522" ns2:_="" ns3:_="">
    <xsd:import namespace="73537f51-c2e5-4500-aefb-a3ff05abd76a"/>
    <xsd:import namespace="6acd6df8-90e3-4dea-b9cf-076af9da41a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537f51-c2e5-4500-aefb-a3ff05abd7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cd6df8-90e3-4dea-b9cf-076af9da41a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614079-456F-405E-8D6A-0FCABBDDBA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537f51-c2e5-4500-aefb-a3ff05abd76a"/>
    <ds:schemaRef ds:uri="6acd6df8-90e3-4dea-b9cf-076af9da41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C1036B9-F620-4C8A-B55B-9C2E2D56012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FDB6252-E729-455A-96E3-C85EFF8A4B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29</TotalTime>
  <Words>469</Words>
  <Application>Microsoft Office PowerPoint</Application>
  <PresentationFormat>Widescreen</PresentationFormat>
  <Paragraphs>33</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PingFang SC Regular</vt:lpstr>
      <vt:lpstr>Arial</vt:lpstr>
      <vt:lpstr>Calibri</vt:lpstr>
      <vt:lpstr>Open Sans</vt:lpstr>
      <vt:lpstr>Symbol</vt:lpstr>
      <vt:lpstr>Digital-DarkMode-Master</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o we are</dc:title>
  <dc:creator>Microsoft Office User</dc:creator>
  <cp:lastModifiedBy>Csala, Denes</cp:lastModifiedBy>
  <cp:revision>37</cp:revision>
  <dcterms:created xsi:type="dcterms:W3CDTF">2020-12-13T19:08:51Z</dcterms:created>
  <dcterms:modified xsi:type="dcterms:W3CDTF">2022-10-27T12:1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0819fa7-4367-4500-ba88-dd630d977609_Enabled">
    <vt:lpwstr>true</vt:lpwstr>
  </property>
  <property fmtid="{D5CDD505-2E9C-101B-9397-08002B2CF9AE}" pid="3" name="MSIP_Label_a0819fa7-4367-4500-ba88-dd630d977609_SetDate">
    <vt:lpwstr>2020-12-13T19:08:51Z</vt:lpwstr>
  </property>
  <property fmtid="{D5CDD505-2E9C-101B-9397-08002B2CF9AE}" pid="4" name="MSIP_Label_a0819fa7-4367-4500-ba88-dd630d977609_Method">
    <vt:lpwstr>Standard</vt:lpwstr>
  </property>
  <property fmtid="{D5CDD505-2E9C-101B-9397-08002B2CF9AE}" pid="5" name="MSIP_Label_a0819fa7-4367-4500-ba88-dd630d977609_Name">
    <vt:lpwstr>a0819fa7-4367-4500-ba88-dd630d977609</vt:lpwstr>
  </property>
  <property fmtid="{D5CDD505-2E9C-101B-9397-08002B2CF9AE}" pid="6" name="MSIP_Label_a0819fa7-4367-4500-ba88-dd630d977609_SiteId">
    <vt:lpwstr>63ce7d59-2f3e-42cd-a8cc-be764cff5eb6</vt:lpwstr>
  </property>
  <property fmtid="{D5CDD505-2E9C-101B-9397-08002B2CF9AE}" pid="7" name="MSIP_Label_a0819fa7-4367-4500-ba88-dd630d977609_ActionId">
    <vt:lpwstr>88e31797-0a21-4ac0-9535-0dea77cea99d</vt:lpwstr>
  </property>
  <property fmtid="{D5CDD505-2E9C-101B-9397-08002B2CF9AE}" pid="8" name="MSIP_Label_a0819fa7-4367-4500-ba88-dd630d977609_ContentBits">
    <vt:lpwstr>0</vt:lpwstr>
  </property>
  <property fmtid="{D5CDD505-2E9C-101B-9397-08002B2CF9AE}" pid="9" name="ContentTypeId">
    <vt:lpwstr>0x010100D940ACBC9554744EA929F2EDD4D9682F</vt:lpwstr>
  </property>
</Properties>
</file>